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9"/>
  </p:notesMasterIdLst>
  <p:sldIdLst>
    <p:sldId id="2147374244" r:id="rId3"/>
    <p:sldId id="257" r:id="rId4"/>
    <p:sldId id="258" r:id="rId5"/>
    <p:sldId id="259" r:id="rId6"/>
    <p:sldId id="260" r:id="rId7"/>
    <p:sldId id="261" r:id="rId8"/>
    <p:sldId id="262" r:id="rId9"/>
    <p:sldId id="265" r:id="rId10"/>
    <p:sldId id="263" r:id="rId11"/>
    <p:sldId id="264" r:id="rId12"/>
    <p:sldId id="266" r:id="rId13"/>
    <p:sldId id="267" r:id="rId14"/>
    <p:sldId id="270" r:id="rId15"/>
    <p:sldId id="269" r:id="rId16"/>
    <p:sldId id="268" r:id="rId17"/>
    <p:sldId id="2147374246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D56CD92-DF73-D7CC-3928-4AE3B7BE3783}" v="1" dt="2026-04-27T15:39:00.40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93" d="100"/>
          <a:sy n="93" d="100"/>
        </p:scale>
        <p:origin x="302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C45FC9-295C-4D09-A04B-E89C311B0CF4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072AC7-11A1-46B4-87D0-664B69C012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2508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4016A9-880F-9449-8D56-82E3451D94B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924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D8AEEE-0F93-4EE5-464C-2C571542C6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8AE7FC3-DAFA-F817-D325-A7AA030F57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9C671E-333B-75B6-393C-56EA7CB3BE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F28BD-17D8-450D-85D3-370A98937FB2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47BFD3-DCAC-6D23-3F9B-BB84F1CD4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4DC37A-A59E-0ED4-C686-CE8CAA4602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6F21E-84F2-4C40-99E5-220146544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28374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2E14F3-32F0-46A2-6AE3-46210A865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CE3254F-129E-7AEF-A83E-5DE0BDA7A3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3A2E17-F683-0B5D-9D07-7107FC9367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F28BD-17D8-450D-85D3-370A98937FB2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CCC483-533B-0DB8-5317-9658476B2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8527DC-7279-52C5-1F0C-17DC838A0C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6F21E-84F2-4C40-99E5-220146544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9139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3BD7B45-5D0F-5C35-4219-DA1ED44D461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FE9E921-0BA0-3E84-B3ED-4EDFF210EA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85A79F-C1C8-CF52-702D-315B2CFE0F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F28BD-17D8-450D-85D3-370A98937FB2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935939-AE2C-6634-A7C9-942CEE232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67F4B9-9D34-5B3D-DFC3-A489F8858D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6F21E-84F2-4C40-99E5-220146544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6117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-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>
            <a:extLst>
              <a:ext uri="{FF2B5EF4-FFF2-40B4-BE49-F238E27FC236}">
                <a16:creationId xmlns:a16="http://schemas.microsoft.com/office/drawing/2014/main" id="{D356C753-0914-D74B-9BD5-B42C54873104}"/>
              </a:ext>
            </a:extLst>
          </p:cNvPr>
          <p:cNvSpPr/>
          <p:nvPr userDrawn="1"/>
        </p:nvSpPr>
        <p:spPr>
          <a:xfrm>
            <a:off x="-3" y="2525486"/>
            <a:ext cx="12192005" cy="4332516"/>
          </a:xfrm>
          <a:prstGeom prst="rect">
            <a:avLst/>
          </a:prstGeom>
          <a:solidFill>
            <a:schemeClr val="tx2"/>
          </a:solidFill>
          <a:ln w="12700">
            <a:noFill/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A337F8-2DFD-E641-951D-46A1673BC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6721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A337F8-2DFD-E641-951D-46A1673BC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F0A5D651-473C-9044-9840-EB0A7935B0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4446" y="6220573"/>
            <a:ext cx="4359275" cy="24622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lang="en-US" sz="1600" b="0" i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2179152-7FAB-DA96-9953-AFAFE9DAC47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4445" y="3429000"/>
            <a:ext cx="10030487" cy="2383403"/>
          </a:xfrm>
          <a:prstGeom prst="rect">
            <a:avLst/>
          </a:prstGeom>
        </p:spPr>
        <p:txBody>
          <a:bodyPr/>
          <a:lstStyle>
            <a:lvl1pPr>
              <a:lnSpc>
                <a:spcPts val="5400"/>
              </a:lnSpc>
              <a:defRPr sz="48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presentation cover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1901C7E-4D0F-651E-01F6-F6367A4132F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1627" y="538123"/>
            <a:ext cx="2915756" cy="86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195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00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-Nav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>
            <a:extLst>
              <a:ext uri="{FF2B5EF4-FFF2-40B4-BE49-F238E27FC236}">
                <a16:creationId xmlns:a16="http://schemas.microsoft.com/office/drawing/2014/main" id="{D356C753-0914-D74B-9BD5-B42C54873104}"/>
              </a:ext>
            </a:extLst>
          </p:cNvPr>
          <p:cNvSpPr/>
          <p:nvPr userDrawn="1"/>
        </p:nvSpPr>
        <p:spPr>
          <a:xfrm>
            <a:off x="-3" y="2516777"/>
            <a:ext cx="12192005" cy="4341225"/>
          </a:xfrm>
          <a:prstGeom prst="rect">
            <a:avLst/>
          </a:prstGeom>
          <a:solidFill>
            <a:srgbClr val="004C6C"/>
          </a:solidFill>
          <a:ln w="12700">
            <a:noFill/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A337F8-2DFD-E641-951D-46A1673BC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6721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A337F8-2DFD-E641-951D-46A1673BC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F0A5D651-473C-9044-9840-EB0A7935B0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4446" y="6220573"/>
            <a:ext cx="4359275" cy="24622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lang="en-US" sz="1600" b="0" i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2179152-7FAB-DA96-9953-AFAFE9DAC47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4445" y="3429000"/>
            <a:ext cx="10005087" cy="2383403"/>
          </a:xfrm>
          <a:prstGeom prst="rect">
            <a:avLst/>
          </a:prstGeom>
        </p:spPr>
        <p:txBody>
          <a:bodyPr/>
          <a:lstStyle>
            <a:lvl1pPr>
              <a:lnSpc>
                <a:spcPts val="5400"/>
              </a:lnSpc>
              <a:defRPr sz="48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presentation cover 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450E354-938C-C29F-91CB-8EE9AA5DBB4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1627" y="538123"/>
            <a:ext cx="2915756" cy="86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375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00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-Light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>
            <a:extLst>
              <a:ext uri="{FF2B5EF4-FFF2-40B4-BE49-F238E27FC236}">
                <a16:creationId xmlns:a16="http://schemas.microsoft.com/office/drawing/2014/main" id="{D356C753-0914-D74B-9BD5-B42C54873104}"/>
              </a:ext>
            </a:extLst>
          </p:cNvPr>
          <p:cNvSpPr/>
          <p:nvPr userDrawn="1"/>
        </p:nvSpPr>
        <p:spPr>
          <a:xfrm>
            <a:off x="-3" y="2488758"/>
            <a:ext cx="12192005" cy="4369244"/>
          </a:xfrm>
          <a:prstGeom prst="rect">
            <a:avLst/>
          </a:prstGeom>
          <a:solidFill>
            <a:schemeClr val="accent6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A337F8-2DFD-E641-951D-46A1673BC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6721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A337F8-2DFD-E641-951D-46A1673BC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F0A5D651-473C-9044-9840-EB0A7935B0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4446" y="6220573"/>
            <a:ext cx="4359275" cy="24622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lang="en-US" sz="1600" b="0" i="0" dirty="0" smtClean="0">
                <a:solidFill>
                  <a:srgbClr val="53575A"/>
                </a:solidFill>
                <a:latin typeface="+mj-lt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2179152-7FAB-DA96-9953-AFAFE9DAC47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4445" y="3429000"/>
            <a:ext cx="10005087" cy="2383403"/>
          </a:xfrm>
          <a:prstGeom prst="rect">
            <a:avLst/>
          </a:prstGeom>
        </p:spPr>
        <p:txBody>
          <a:bodyPr/>
          <a:lstStyle>
            <a:lvl1pPr>
              <a:lnSpc>
                <a:spcPts val="5400"/>
              </a:lnSpc>
              <a:defRPr sz="48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presentation cover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BBB91B0-8528-3796-C6D0-131DBA51EDC8}"/>
              </a:ext>
            </a:extLst>
          </p:cNvPr>
          <p:cNvGrpSpPr/>
          <p:nvPr userDrawn="1"/>
        </p:nvGrpSpPr>
        <p:grpSpPr>
          <a:xfrm>
            <a:off x="0" y="2353585"/>
            <a:ext cx="12192005" cy="159026"/>
            <a:chOff x="0" y="2353585"/>
            <a:chExt cx="12192005" cy="159026"/>
          </a:xfrm>
        </p:grpSpPr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1B30F9B9-25EB-E3E3-CF72-9462A5781587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" name="Rectangle 5">
              <a:extLst>
                <a:ext uri="{FF2B5EF4-FFF2-40B4-BE49-F238E27FC236}">
                  <a16:creationId xmlns:a16="http://schemas.microsoft.com/office/drawing/2014/main" id="{4C69C2EB-10C5-77D9-A5F0-AA0873FCF2CA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9" name="Rectangle 5">
              <a:extLst>
                <a:ext uri="{FF2B5EF4-FFF2-40B4-BE49-F238E27FC236}">
                  <a16:creationId xmlns:a16="http://schemas.microsoft.com/office/drawing/2014/main" id="{20DF54F3-0C3D-1614-8D48-F43AE5533B42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0" name="Rectangle 5">
              <a:extLst>
                <a:ext uri="{FF2B5EF4-FFF2-40B4-BE49-F238E27FC236}">
                  <a16:creationId xmlns:a16="http://schemas.microsoft.com/office/drawing/2014/main" id="{593D79A1-E41E-DC5C-51E2-9FC0128ADA45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38BFF8D8-1865-DEB7-1FED-229097E5DC4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1627" y="538123"/>
            <a:ext cx="2915756" cy="86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956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00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-Dark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>
            <a:extLst>
              <a:ext uri="{FF2B5EF4-FFF2-40B4-BE49-F238E27FC236}">
                <a16:creationId xmlns:a16="http://schemas.microsoft.com/office/drawing/2014/main" id="{D356C753-0914-D74B-9BD5-B42C54873104}"/>
              </a:ext>
            </a:extLst>
          </p:cNvPr>
          <p:cNvSpPr/>
          <p:nvPr userDrawn="1"/>
        </p:nvSpPr>
        <p:spPr>
          <a:xfrm>
            <a:off x="-3" y="2488758"/>
            <a:ext cx="12192005" cy="4369244"/>
          </a:xfrm>
          <a:prstGeom prst="rect">
            <a:avLst/>
          </a:prstGeom>
          <a:solidFill>
            <a:srgbClr val="53575A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A337F8-2DFD-E641-951D-46A1673BC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6721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A337F8-2DFD-E641-951D-46A1673BC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F0A5D651-473C-9044-9840-EB0A7935B0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4446" y="6220573"/>
            <a:ext cx="4359275" cy="24622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lang="en-US" sz="1600" b="0" i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2179152-7FAB-DA96-9953-AFAFE9DAC47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4446" y="3429000"/>
            <a:ext cx="10013554" cy="2383403"/>
          </a:xfrm>
          <a:prstGeom prst="rect">
            <a:avLst/>
          </a:prstGeom>
        </p:spPr>
        <p:txBody>
          <a:bodyPr/>
          <a:lstStyle>
            <a:lvl1pPr>
              <a:lnSpc>
                <a:spcPts val="5400"/>
              </a:lnSpc>
              <a:defRPr sz="48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presentation cover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763D46F-B11E-4C2A-5EE8-1F49C19BC2E9}"/>
              </a:ext>
            </a:extLst>
          </p:cNvPr>
          <p:cNvGrpSpPr/>
          <p:nvPr userDrawn="1"/>
        </p:nvGrpSpPr>
        <p:grpSpPr>
          <a:xfrm>
            <a:off x="0" y="2353585"/>
            <a:ext cx="12192005" cy="159026"/>
            <a:chOff x="0" y="2353585"/>
            <a:chExt cx="12192005" cy="159026"/>
          </a:xfrm>
        </p:grpSpPr>
        <p:sp>
          <p:nvSpPr>
            <p:cNvPr id="4" name="Rectangle 5">
              <a:extLst>
                <a:ext uri="{FF2B5EF4-FFF2-40B4-BE49-F238E27FC236}">
                  <a16:creationId xmlns:a16="http://schemas.microsoft.com/office/drawing/2014/main" id="{48149C47-BA0D-BBFD-DB2E-64EA630813E3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" name="Rectangle 5">
              <a:extLst>
                <a:ext uri="{FF2B5EF4-FFF2-40B4-BE49-F238E27FC236}">
                  <a16:creationId xmlns:a16="http://schemas.microsoft.com/office/drawing/2014/main" id="{BDB13979-8393-E66F-E1FD-1AFC6C3E30E0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1" name="Rectangle 5">
              <a:extLst>
                <a:ext uri="{FF2B5EF4-FFF2-40B4-BE49-F238E27FC236}">
                  <a16:creationId xmlns:a16="http://schemas.microsoft.com/office/drawing/2014/main" id="{08BECC26-A5B9-FE75-9B6D-69C4F8368BF2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5C207B07-6BA3-7A37-EBE2-931E85951834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EB5910CF-2A06-67A6-136F-BAB46FC1A03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1627" y="538123"/>
            <a:ext cx="2915756" cy="86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979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00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-3-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A337F8-2DFD-E641-951D-46A1673BC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328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A337F8-2DFD-E641-951D-46A1673BC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B2179152-7FAB-DA96-9953-AFAFE9DAC47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1908" y="3028152"/>
            <a:ext cx="5464092" cy="2506715"/>
          </a:xfrm>
          <a:prstGeom prst="rect">
            <a:avLst/>
          </a:prstGeom>
        </p:spPr>
        <p:txBody>
          <a:bodyPr/>
          <a:lstStyle>
            <a:lvl1pPr>
              <a:lnSpc>
                <a:spcPts val="5400"/>
              </a:lnSpc>
              <a:defRPr sz="48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C7FF89C4-1E75-AD3E-70E4-BCB14FE8C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1908" y="2530338"/>
            <a:ext cx="5464092" cy="355414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intro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F0A5D651-473C-9044-9840-EB0A7935B0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1908" y="5928713"/>
            <a:ext cx="5464092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1600" b="0" i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55081CA-B3CA-B30C-6CEE-7B90A38390DF}"/>
              </a:ext>
            </a:extLst>
          </p:cNvPr>
          <p:cNvSpPr/>
          <p:nvPr userDrawn="1"/>
        </p:nvSpPr>
        <p:spPr>
          <a:xfrm>
            <a:off x="11914909" y="0"/>
            <a:ext cx="277091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4C6C"/>
              </a:solidFill>
            </a:endParaRP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6D5808B-09D5-DBCE-92BB-F67C8067A71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018867" y="0"/>
            <a:ext cx="4904762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C7A5DEF-AB98-AC74-FBC5-2DB9740AC83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1629" y="538123"/>
            <a:ext cx="2915752" cy="86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08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00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-3-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F4B52B4-62E6-C138-C97F-B08EC0A1F6DD}"/>
              </a:ext>
            </a:extLst>
          </p:cNvPr>
          <p:cNvSpPr/>
          <p:nvPr userDrawn="1"/>
        </p:nvSpPr>
        <p:spPr>
          <a:xfrm>
            <a:off x="-1" y="1"/>
            <a:ext cx="7001934" cy="6857999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A337F8-2DFD-E641-951D-46A1673BC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328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A337F8-2DFD-E641-951D-46A1673BC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50807A-C3F4-A14D-9382-F5F644AFC1C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001933" y="0"/>
            <a:ext cx="4921696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2179152-7FAB-DA96-9953-AFAFE9DAC47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1908" y="3028152"/>
            <a:ext cx="5464092" cy="2506715"/>
          </a:xfrm>
          <a:prstGeom prst="rect">
            <a:avLst/>
          </a:prstGeom>
        </p:spPr>
        <p:txBody>
          <a:bodyPr/>
          <a:lstStyle>
            <a:lvl1pPr>
              <a:lnSpc>
                <a:spcPts val="5400"/>
              </a:lnSpc>
              <a:defRPr sz="48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C7FF89C4-1E75-AD3E-70E4-BCB14FE8C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1908" y="2530338"/>
            <a:ext cx="5464092" cy="355414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intro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F0A5D651-473C-9044-9840-EB0A7935B0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1908" y="5928713"/>
            <a:ext cx="5464092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1600" b="0" i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7853E0D-AA29-75D7-0EC2-3EFE35DE5489}"/>
              </a:ext>
            </a:extLst>
          </p:cNvPr>
          <p:cNvSpPr/>
          <p:nvPr userDrawn="1"/>
        </p:nvSpPr>
        <p:spPr>
          <a:xfrm>
            <a:off x="11914909" y="0"/>
            <a:ext cx="277091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4C6C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5E3F296-8BC1-1282-5562-B59138E490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1629" y="538123"/>
            <a:ext cx="2915752" cy="86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119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00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-3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28">
            <a:extLst>
              <a:ext uri="{FF2B5EF4-FFF2-40B4-BE49-F238E27FC236}">
                <a16:creationId xmlns:a16="http://schemas.microsoft.com/office/drawing/2014/main" id="{E2A05B09-BA6E-2ADD-B188-3B32BA8B26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3785" y="5931673"/>
            <a:ext cx="4359275" cy="24622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lang="en-US" sz="1600" b="0" i="0" dirty="0" smtClean="0">
                <a:solidFill>
                  <a:srgbClr val="53575A"/>
                </a:solidFill>
                <a:latin typeface="+mj-lt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A6AE05D7-487B-75BC-0690-B472468C6BE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3785" y="3017520"/>
            <a:ext cx="5462215" cy="2506715"/>
          </a:xfrm>
          <a:prstGeom prst="rect">
            <a:avLst/>
          </a:prstGeom>
        </p:spPr>
        <p:txBody>
          <a:bodyPr/>
          <a:lstStyle>
            <a:lvl1pPr>
              <a:lnSpc>
                <a:spcPts val="5400"/>
              </a:lnSpc>
              <a:defRPr sz="4800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79B81361-EFE4-E77C-966D-E49F197387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3785" y="2556917"/>
            <a:ext cx="5462215" cy="355414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2400" b="0" i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intro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A337F8-2DFD-E641-951D-46A1673BC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328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A337F8-2DFD-E641-951D-46A1673BC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9FA8F334-E290-A946-A340-8C3B2125CE1A}"/>
              </a:ext>
            </a:extLst>
          </p:cNvPr>
          <p:cNvSpPr/>
          <p:nvPr userDrawn="1"/>
        </p:nvSpPr>
        <p:spPr>
          <a:xfrm>
            <a:off x="11923551" y="0"/>
            <a:ext cx="277091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4C6C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6A289A3-3273-866D-9BA1-7EECECFE8C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001933" y="0"/>
            <a:ext cx="4921696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93D94CB-A0B8-E1E1-C380-196DCEA0FB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1627" y="538123"/>
            <a:ext cx="2915756" cy="86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9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2-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BBAF4B6-2C87-1CCD-1211-2FB6ED3A7EF5}"/>
              </a:ext>
            </a:extLst>
          </p:cNvPr>
          <p:cNvSpPr/>
          <p:nvPr userDrawn="1"/>
        </p:nvSpPr>
        <p:spPr>
          <a:xfrm>
            <a:off x="-1" y="0"/>
            <a:ext cx="11371726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A337F8-2DFD-E641-951D-46A1673BC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328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A337F8-2DFD-E641-951D-46A1673BC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F0A5D651-473C-9044-9840-EB0A7935B0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8411" y="5915770"/>
            <a:ext cx="4359275" cy="24622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lang="en-US" sz="1600" b="0" i="0" dirty="0" smtClean="0">
                <a:solidFill>
                  <a:srgbClr val="53575A"/>
                </a:solidFill>
                <a:latin typeface="+mj-lt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2179152-7FAB-DA96-9953-AFAFE9DAC47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8411" y="2512848"/>
            <a:ext cx="7462908" cy="2506715"/>
          </a:xfrm>
          <a:prstGeom prst="rect">
            <a:avLst/>
          </a:prstGeom>
        </p:spPr>
        <p:txBody>
          <a:bodyPr/>
          <a:lstStyle>
            <a:lvl1pPr>
              <a:lnSpc>
                <a:spcPts val="5400"/>
              </a:lnSpc>
              <a:defRPr sz="48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presentation cover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3E1DCD3-6A05-E9C2-7C8F-C5D5B1A8E37D}"/>
              </a:ext>
            </a:extLst>
          </p:cNvPr>
          <p:cNvSpPr txBox="1"/>
          <p:nvPr userDrawn="1"/>
        </p:nvSpPr>
        <p:spPr>
          <a:xfrm>
            <a:off x="9885680" y="209296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78C7545-8A35-82BA-BDD2-F7EF0ACC6D53}"/>
              </a:ext>
            </a:extLst>
          </p:cNvPr>
          <p:cNvSpPr/>
          <p:nvPr userDrawn="1"/>
        </p:nvSpPr>
        <p:spPr>
          <a:xfrm>
            <a:off x="11371725" y="0"/>
            <a:ext cx="201864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D3DE97-A9E7-7A4C-6245-EF0EEC7384B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1627" y="538123"/>
            <a:ext cx="2915756" cy="86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63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00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4DC27F-CB25-3211-D420-E464072E05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72C9DE-1652-8C60-4A53-3487C6DDF7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40510C-A514-DC1A-A070-F3295F508C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F28BD-17D8-450D-85D3-370A98937FB2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E37914-7B0D-E29A-DD56-E33A752044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83D787-735C-8DE9-B9C3-CB8B21AF1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6F21E-84F2-4C40-99E5-220146544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8441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-1-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A337F8-2DFD-E641-951D-46A1673BC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1762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A337F8-2DFD-E641-951D-46A1673BC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9304" y="2518296"/>
            <a:ext cx="9115587" cy="2739504"/>
          </a:xfrm>
          <a:prstGeom prst="rect">
            <a:avLst/>
          </a:prstGeom>
        </p:spPr>
        <p:txBody>
          <a:bodyPr/>
          <a:lstStyle>
            <a:lvl1pPr>
              <a:lnSpc>
                <a:spcPts val="5400"/>
              </a:lnSpc>
              <a:defRPr sz="48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divid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9304" y="2059361"/>
            <a:ext cx="9115587" cy="355414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intr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6648121-3DF7-2574-278A-C3CB26B5D40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63896" y="5724370"/>
            <a:ext cx="2915752" cy="86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3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-1-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5C21D98-9D37-D29D-D81E-CBFADA5984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A337F8-2DFD-E641-951D-46A1673BC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1762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A337F8-2DFD-E641-951D-46A1673BC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9304" y="2518296"/>
            <a:ext cx="9142849" cy="2710169"/>
          </a:xfrm>
          <a:prstGeom prst="rect">
            <a:avLst/>
          </a:prstGeom>
        </p:spPr>
        <p:txBody>
          <a:bodyPr/>
          <a:lstStyle>
            <a:lvl1pPr>
              <a:lnSpc>
                <a:spcPts val="5400"/>
              </a:lnSpc>
              <a:defRPr sz="48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divid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9304" y="2059361"/>
            <a:ext cx="9142849" cy="355414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intr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12B9F5F-B035-8CB3-D4AE-050955A1622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63896" y="5724370"/>
            <a:ext cx="2915752" cy="86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239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-1-LightGra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5C21D98-9D37-D29D-D81E-CBFADA5984DD}"/>
              </a:ext>
            </a:extLst>
          </p:cNvPr>
          <p:cNvSpPr/>
          <p:nvPr userDrawn="1"/>
        </p:nvSpPr>
        <p:spPr>
          <a:xfrm>
            <a:off x="-71562" y="-79513"/>
            <a:ext cx="12263562" cy="693751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A337F8-2DFD-E641-951D-46A1673BC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1762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A337F8-2DFD-E641-951D-46A1673BC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9304" y="2518296"/>
            <a:ext cx="9142849" cy="2710169"/>
          </a:xfrm>
          <a:prstGeom prst="rect">
            <a:avLst/>
          </a:prstGeom>
        </p:spPr>
        <p:txBody>
          <a:bodyPr/>
          <a:lstStyle>
            <a:lvl1pPr>
              <a:lnSpc>
                <a:spcPts val="5400"/>
              </a:lnSpc>
              <a:defRPr sz="4800" b="0" i="0">
                <a:solidFill>
                  <a:srgbClr val="004C6C"/>
                </a:solidFill>
                <a:latin typeface="+mj-lt"/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divid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9304" y="2059361"/>
            <a:ext cx="9142849" cy="355414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2400" b="0" i="0">
                <a:solidFill>
                  <a:srgbClr val="004C6C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intr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5108D7-94D9-D879-656C-074088CCB6B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63896" y="5724370"/>
            <a:ext cx="2915752" cy="86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487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-2-Dark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C49C85EB-C40C-FC4F-8ABC-3EFADFB97FA7}"/>
              </a:ext>
            </a:extLst>
          </p:cNvPr>
          <p:cNvSpPr/>
          <p:nvPr userDrawn="1"/>
        </p:nvSpPr>
        <p:spPr>
          <a:xfrm>
            <a:off x="0" y="3374045"/>
            <a:ext cx="12191695" cy="3483956"/>
          </a:xfrm>
          <a:prstGeom prst="rect">
            <a:avLst/>
          </a:prstGeom>
          <a:solidFill>
            <a:srgbClr val="5357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95D028-1C91-264C-A5AC-A1F91ECB11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2037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95D028-1C91-264C-A5AC-A1F91ECB11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5689" y="1601421"/>
            <a:ext cx="10013156" cy="1523442"/>
          </a:xfrm>
          <a:prstGeom prst="rect">
            <a:avLst/>
          </a:prstGeom>
        </p:spPr>
        <p:txBody>
          <a:bodyPr anchor="t"/>
          <a:lstStyle>
            <a:lvl1pPr algn="l">
              <a:defRPr sz="4800" b="0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divider 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9394C93-0F30-8848-9C63-E7E4AE103F6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5690" y="1138339"/>
            <a:ext cx="9447007" cy="27403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0" i="0">
                <a:solidFill>
                  <a:srgbClr val="53575A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Divider subhead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CB3F29-1002-742E-86FA-5846756BF2A0}"/>
              </a:ext>
            </a:extLst>
          </p:cNvPr>
          <p:cNvGrpSpPr/>
          <p:nvPr userDrawn="1"/>
        </p:nvGrpSpPr>
        <p:grpSpPr>
          <a:xfrm>
            <a:off x="0" y="3215019"/>
            <a:ext cx="12192005" cy="159026"/>
            <a:chOff x="0" y="2353585"/>
            <a:chExt cx="12192005" cy="159026"/>
          </a:xfrm>
        </p:grpSpPr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E3C15F63-47E9-B8EE-2A55-B41BE63F81E5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4" name="Rectangle 5">
              <a:extLst>
                <a:ext uri="{FF2B5EF4-FFF2-40B4-BE49-F238E27FC236}">
                  <a16:creationId xmlns:a16="http://schemas.microsoft.com/office/drawing/2014/main" id="{31064844-B420-E3AB-0E96-8472364CAD91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5" name="Rectangle 5">
              <a:extLst>
                <a:ext uri="{FF2B5EF4-FFF2-40B4-BE49-F238E27FC236}">
                  <a16:creationId xmlns:a16="http://schemas.microsoft.com/office/drawing/2014/main" id="{75124E32-C0CB-835A-DB0F-326A48579989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4FA04105-A7FF-9863-4772-3C571A6A8DF8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6A5016FD-038E-0E2B-7057-FD4E44BFF81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63896" y="5724370"/>
            <a:ext cx="2915752" cy="86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647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-2-Dark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C49C85EB-C40C-FC4F-8ABC-3EFADFB97FA7}"/>
              </a:ext>
            </a:extLst>
          </p:cNvPr>
          <p:cNvSpPr/>
          <p:nvPr userDrawn="1"/>
        </p:nvSpPr>
        <p:spPr>
          <a:xfrm>
            <a:off x="0" y="3374045"/>
            <a:ext cx="12191695" cy="3483956"/>
          </a:xfrm>
          <a:prstGeom prst="rect">
            <a:avLst/>
          </a:prstGeom>
          <a:solidFill>
            <a:srgbClr val="5357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95D028-1C91-264C-A5AC-A1F91ECB11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2037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95D028-1C91-264C-A5AC-A1F91ECB11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5689" y="1601421"/>
            <a:ext cx="10013156" cy="1523442"/>
          </a:xfrm>
          <a:prstGeom prst="rect">
            <a:avLst/>
          </a:prstGeom>
        </p:spPr>
        <p:txBody>
          <a:bodyPr anchor="t"/>
          <a:lstStyle>
            <a:lvl1pPr algn="l">
              <a:defRPr sz="48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divider 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9394C93-0F30-8848-9C63-E7E4AE103F6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5690" y="1138339"/>
            <a:ext cx="9447007" cy="27403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0" i="0">
                <a:solidFill>
                  <a:srgbClr val="53575A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Divider subhead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3B092D26-A71B-C78E-C7FA-A2A27BCE83BC}"/>
              </a:ext>
            </a:extLst>
          </p:cNvPr>
          <p:cNvSpPr/>
          <p:nvPr userDrawn="1"/>
        </p:nvSpPr>
        <p:spPr>
          <a:xfrm>
            <a:off x="0" y="3215019"/>
            <a:ext cx="12192005" cy="159026"/>
          </a:xfrm>
          <a:prstGeom prst="rect">
            <a:avLst/>
          </a:prstGeom>
          <a:solidFill>
            <a:schemeClr val="tx2"/>
          </a:solidFill>
          <a:ln w="12700">
            <a:noFill/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B7AD86D-D827-7B04-43AA-62CC200305A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63896" y="5724370"/>
            <a:ext cx="2915752" cy="86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271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-2-Light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C49C85EB-C40C-FC4F-8ABC-3EFADFB97FA7}"/>
              </a:ext>
            </a:extLst>
          </p:cNvPr>
          <p:cNvSpPr/>
          <p:nvPr userDrawn="1"/>
        </p:nvSpPr>
        <p:spPr>
          <a:xfrm>
            <a:off x="0" y="3374045"/>
            <a:ext cx="12191695" cy="3483956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95D028-1C91-264C-A5AC-A1F91ECB11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2037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95D028-1C91-264C-A5AC-A1F91ECB11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5689" y="1601421"/>
            <a:ext cx="10013156" cy="1523442"/>
          </a:xfrm>
          <a:prstGeom prst="rect">
            <a:avLst/>
          </a:prstGeom>
        </p:spPr>
        <p:txBody>
          <a:bodyPr anchor="t"/>
          <a:lstStyle>
            <a:lvl1pPr algn="l">
              <a:defRPr sz="4800" b="0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divider 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9394C93-0F30-8848-9C63-E7E4AE103F6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5690" y="1138339"/>
            <a:ext cx="9447007" cy="27403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0" i="0">
                <a:solidFill>
                  <a:srgbClr val="53575A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Divider subhead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98C90EE-FC8A-0F16-C714-CF2846386637}"/>
              </a:ext>
            </a:extLst>
          </p:cNvPr>
          <p:cNvGrpSpPr/>
          <p:nvPr userDrawn="1"/>
        </p:nvGrpSpPr>
        <p:grpSpPr>
          <a:xfrm>
            <a:off x="0" y="3215019"/>
            <a:ext cx="12192005" cy="159026"/>
            <a:chOff x="0" y="2353585"/>
            <a:chExt cx="12192005" cy="159026"/>
          </a:xfrm>
        </p:grpSpPr>
        <p:sp>
          <p:nvSpPr>
            <p:cNvPr id="4" name="Rectangle 5">
              <a:extLst>
                <a:ext uri="{FF2B5EF4-FFF2-40B4-BE49-F238E27FC236}">
                  <a16:creationId xmlns:a16="http://schemas.microsoft.com/office/drawing/2014/main" id="{32B5B712-C46F-A64D-D6A3-DCD4AA0AF9DA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" name="Rectangle 5">
              <a:extLst>
                <a:ext uri="{FF2B5EF4-FFF2-40B4-BE49-F238E27FC236}">
                  <a16:creationId xmlns:a16="http://schemas.microsoft.com/office/drawing/2014/main" id="{103848FE-A17B-3EB5-4335-CF41F3870A1A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75AEA09A-F341-C922-43B0-B941A0494DE4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9" name="Rectangle 5">
              <a:extLst>
                <a:ext uri="{FF2B5EF4-FFF2-40B4-BE49-F238E27FC236}">
                  <a16:creationId xmlns:a16="http://schemas.microsoft.com/office/drawing/2014/main" id="{85999FBB-8359-300B-A354-B56FFC68AACA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E985C349-A66D-E0C1-8777-908C1E95F30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63896" y="5724370"/>
            <a:ext cx="2915752" cy="86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62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-2-LightGray-Red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6E6836E-4713-08F3-D27B-15DECBA33CAA}"/>
              </a:ext>
            </a:extLst>
          </p:cNvPr>
          <p:cNvSpPr/>
          <p:nvPr userDrawn="1"/>
        </p:nvSpPr>
        <p:spPr>
          <a:xfrm>
            <a:off x="0" y="3374045"/>
            <a:ext cx="12191695" cy="3483956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8E67976F-160F-D977-64F4-419E0A252572}"/>
              </a:ext>
            </a:extLst>
          </p:cNvPr>
          <p:cNvSpPr/>
          <p:nvPr userDrawn="1"/>
        </p:nvSpPr>
        <p:spPr>
          <a:xfrm>
            <a:off x="0" y="3215019"/>
            <a:ext cx="12192005" cy="159026"/>
          </a:xfrm>
          <a:prstGeom prst="rect">
            <a:avLst/>
          </a:prstGeom>
          <a:solidFill>
            <a:schemeClr val="tx2"/>
          </a:solidFill>
          <a:ln w="12700">
            <a:noFill/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95D028-1C91-264C-A5AC-A1F91ECB11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2037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95D028-1C91-264C-A5AC-A1F91ECB11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5689" y="1601421"/>
            <a:ext cx="10013156" cy="1523442"/>
          </a:xfrm>
          <a:prstGeom prst="rect">
            <a:avLst/>
          </a:prstGeom>
        </p:spPr>
        <p:txBody>
          <a:bodyPr anchor="t"/>
          <a:lstStyle>
            <a:lvl1pPr algn="l">
              <a:defRPr sz="48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divider 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9394C93-0F30-8848-9C63-E7E4AE103F6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5690" y="1138339"/>
            <a:ext cx="9447007" cy="27403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0" i="0">
                <a:solidFill>
                  <a:srgbClr val="53575A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Divider subh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926EA66-62F8-A347-6D74-2942840145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63896" y="5724370"/>
            <a:ext cx="2915752" cy="86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633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LOCK_Red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>
            <a:extLst>
              <a:ext uri="{FF2B5EF4-FFF2-40B4-BE49-F238E27FC236}">
                <a16:creationId xmlns:a16="http://schemas.microsoft.com/office/drawing/2014/main" id="{2AC8BC53-D372-9340-AD3B-26E013270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153" y="683812"/>
            <a:ext cx="4867656" cy="6035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>
              <a:lnSpc>
                <a:spcPts val="3200"/>
              </a:lnSpc>
              <a:defRPr lang="uk-UA" sz="2400" b="1" i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F97AF98-A3ED-9547-82E9-D2C2F51F491E}"/>
              </a:ext>
            </a:extLst>
          </p:cNvPr>
          <p:cNvSpPr/>
          <p:nvPr userDrawn="1"/>
        </p:nvSpPr>
        <p:spPr>
          <a:xfrm>
            <a:off x="6096000" y="0"/>
            <a:ext cx="6095695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578CC24-5882-DF76-57BC-C8819CD583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153" y="1606162"/>
            <a:ext cx="4867656" cy="4472609"/>
          </a:xfrm>
          <a:prstGeom prst="rect">
            <a:avLst/>
          </a:prstGeom>
        </p:spPr>
        <p:txBody>
          <a:bodyPr/>
          <a:lstStyle>
            <a:lvl1pPr>
              <a:buClr>
                <a:srgbClr val="26181E"/>
              </a:buClr>
              <a:defRPr sz="2400">
                <a:solidFill>
                  <a:srgbClr val="53575A"/>
                </a:solidFill>
                <a:latin typeface="+mj-lt"/>
              </a:defRPr>
            </a:lvl1pPr>
            <a:lvl2pPr marL="182889" indent="-182889">
              <a:buClr>
                <a:srgbClr val="26181E"/>
              </a:buClr>
              <a:buFont typeface="Arial" panose="020B0604020202020204" pitchFamily="34" charset="0"/>
              <a:buChar char="•"/>
              <a:defRPr sz="1900">
                <a:solidFill>
                  <a:srgbClr val="53575A"/>
                </a:solidFill>
              </a:defRPr>
            </a:lvl2pPr>
            <a:lvl3pPr marL="365778">
              <a:buClr>
                <a:srgbClr val="26181E"/>
              </a:buClr>
              <a:defRPr sz="1600">
                <a:solidFill>
                  <a:srgbClr val="53575A"/>
                </a:solidFill>
              </a:defRPr>
            </a:lvl3pPr>
            <a:lvl4pPr marL="548667" indent="-182889">
              <a:buClr>
                <a:srgbClr val="26181E"/>
              </a:buClr>
              <a:defRPr sz="1300">
                <a:solidFill>
                  <a:srgbClr val="53575A"/>
                </a:solidFill>
              </a:defRPr>
            </a:lvl4pPr>
            <a:lvl5pPr marL="731557">
              <a:buClr>
                <a:srgbClr val="26181E"/>
              </a:buClr>
              <a:defRPr sz="1300">
                <a:solidFill>
                  <a:srgbClr val="53575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DBB2301-6A0C-084B-AF6C-E806E6CEFA20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0F6592-166A-3D15-CFB3-312DC83502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80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BLOCK_Navy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>
            <a:extLst>
              <a:ext uri="{FF2B5EF4-FFF2-40B4-BE49-F238E27FC236}">
                <a16:creationId xmlns:a16="http://schemas.microsoft.com/office/drawing/2014/main" id="{2AC8BC53-D372-9340-AD3B-26E013270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202" y="683812"/>
            <a:ext cx="4867656" cy="6035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>
              <a:lnSpc>
                <a:spcPts val="3200"/>
              </a:lnSpc>
              <a:defRPr lang="uk-UA" sz="2400" b="1" i="0">
                <a:solidFill>
                  <a:schemeClr val="tx1"/>
                </a:solidFill>
                <a:latin typeface="+mj-lt"/>
                <a:ea typeface="Domaine Text" panose="020A0506080505060204" pitchFamily="18" charset="77"/>
                <a:cs typeface="Calibri" panose="020F0502020204030204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9CD03F7-4CD1-534A-83B5-50A176E7E6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202" y="1602188"/>
            <a:ext cx="4867656" cy="4448755"/>
          </a:xfrm>
          <a:prstGeom prst="rect">
            <a:avLst/>
          </a:prstGeom>
        </p:spPr>
        <p:txBody>
          <a:bodyPr/>
          <a:lstStyle>
            <a:lvl1pPr>
              <a:buClr>
                <a:srgbClr val="26181E"/>
              </a:buClr>
              <a:defRPr sz="2400">
                <a:solidFill>
                  <a:srgbClr val="53575A"/>
                </a:solidFill>
                <a:latin typeface="+mj-lt"/>
              </a:defRPr>
            </a:lvl1pPr>
            <a:lvl2pPr marL="182889" indent="-182889">
              <a:buClr>
                <a:srgbClr val="26181E"/>
              </a:buClr>
              <a:buFont typeface="Arial" panose="020B0604020202020204" pitchFamily="34" charset="0"/>
              <a:buChar char="•"/>
              <a:defRPr sz="1900">
                <a:solidFill>
                  <a:srgbClr val="53575A"/>
                </a:solidFill>
              </a:defRPr>
            </a:lvl2pPr>
            <a:lvl3pPr marL="365778">
              <a:buClr>
                <a:srgbClr val="26181E"/>
              </a:buClr>
              <a:defRPr sz="1600">
                <a:solidFill>
                  <a:srgbClr val="53575A"/>
                </a:solidFill>
              </a:defRPr>
            </a:lvl3pPr>
            <a:lvl4pPr marL="548667" indent="-182889">
              <a:buClr>
                <a:srgbClr val="26181E"/>
              </a:buClr>
              <a:defRPr sz="1300">
                <a:solidFill>
                  <a:srgbClr val="53575A"/>
                </a:solidFill>
              </a:defRPr>
            </a:lvl4pPr>
            <a:lvl5pPr marL="731557">
              <a:buClr>
                <a:srgbClr val="26181E"/>
              </a:buClr>
              <a:defRPr sz="1300">
                <a:solidFill>
                  <a:srgbClr val="53575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F97AF98-A3ED-9547-82E9-D2C2F51F491E}"/>
              </a:ext>
            </a:extLst>
          </p:cNvPr>
          <p:cNvSpPr/>
          <p:nvPr userDrawn="1"/>
        </p:nvSpPr>
        <p:spPr>
          <a:xfrm>
            <a:off x="6096000" y="0"/>
            <a:ext cx="609569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A58A0B9-1082-5A7A-BD58-993BE274EBE9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rgbClr val="DDDDDD"/>
                </a:solidFill>
              </a:rPr>
              <a:t> </a:t>
            </a:r>
            <a:endParaRPr lang="en-US" sz="1000" dirty="0">
              <a:solidFill>
                <a:srgbClr val="DDDDDD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DE66FB-1A0F-0944-9BFE-2E17AEA3B684}"/>
              </a:ext>
            </a:extLst>
          </p:cNvPr>
          <p:cNvSpPr txBox="1"/>
          <p:nvPr userDrawn="1"/>
        </p:nvSpPr>
        <p:spPr>
          <a:xfrm>
            <a:off x="11579221" y="6304596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l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bg1"/>
                </a:solidFill>
              </a:rPr>
              <a:pPr algn="l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24990F3-A444-15FC-9466-D3249D8E63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070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LOCK_LightGray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>
            <a:extLst>
              <a:ext uri="{FF2B5EF4-FFF2-40B4-BE49-F238E27FC236}">
                <a16:creationId xmlns:a16="http://schemas.microsoft.com/office/drawing/2014/main" id="{2AC8BC53-D372-9340-AD3B-26E013270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153" y="683812"/>
            <a:ext cx="4867656" cy="6035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>
              <a:lnSpc>
                <a:spcPts val="3200"/>
              </a:lnSpc>
              <a:defRPr lang="uk-UA" sz="2400" b="1" i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F97AF98-A3ED-9547-82E9-D2C2F51F491E}"/>
              </a:ext>
            </a:extLst>
          </p:cNvPr>
          <p:cNvSpPr/>
          <p:nvPr userDrawn="1"/>
        </p:nvSpPr>
        <p:spPr>
          <a:xfrm>
            <a:off x="6096000" y="0"/>
            <a:ext cx="6095695" cy="6858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578CC24-5882-DF76-57BC-C8819CD583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153" y="1606162"/>
            <a:ext cx="4867656" cy="4472609"/>
          </a:xfrm>
          <a:prstGeom prst="rect">
            <a:avLst/>
          </a:prstGeom>
        </p:spPr>
        <p:txBody>
          <a:bodyPr/>
          <a:lstStyle>
            <a:lvl1pPr>
              <a:buClr>
                <a:srgbClr val="26181E"/>
              </a:buClr>
              <a:defRPr sz="2400">
                <a:solidFill>
                  <a:srgbClr val="53575A"/>
                </a:solidFill>
                <a:latin typeface="+mj-lt"/>
              </a:defRPr>
            </a:lvl1pPr>
            <a:lvl2pPr marL="182889" indent="-182889">
              <a:buClr>
                <a:srgbClr val="26181E"/>
              </a:buClr>
              <a:buFont typeface="Arial" panose="020B0604020202020204" pitchFamily="34" charset="0"/>
              <a:buChar char="•"/>
              <a:defRPr sz="1900">
                <a:solidFill>
                  <a:srgbClr val="53575A"/>
                </a:solidFill>
              </a:defRPr>
            </a:lvl2pPr>
            <a:lvl3pPr marL="365778">
              <a:buClr>
                <a:srgbClr val="26181E"/>
              </a:buClr>
              <a:defRPr sz="1600">
                <a:solidFill>
                  <a:srgbClr val="53575A"/>
                </a:solidFill>
              </a:defRPr>
            </a:lvl3pPr>
            <a:lvl4pPr marL="548667" indent="-182889">
              <a:buClr>
                <a:srgbClr val="26181E"/>
              </a:buClr>
              <a:defRPr sz="1300">
                <a:solidFill>
                  <a:srgbClr val="53575A"/>
                </a:solidFill>
              </a:defRPr>
            </a:lvl4pPr>
            <a:lvl5pPr marL="731557">
              <a:buClr>
                <a:srgbClr val="26181E"/>
              </a:buClr>
              <a:defRPr sz="1300">
                <a:solidFill>
                  <a:srgbClr val="53575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DBB2301-6A0C-084B-AF6C-E806E6CEFA20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BA01FD-D3EA-E779-1927-EC7D090B5D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753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33E8BC-D844-00CC-8723-CA34271F5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FBDE57-4CCE-5D5D-B2B4-92D1ED8E63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8CD160-350E-2C5A-91B7-01621C98E3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F28BD-17D8-450D-85D3-370A98937FB2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61B2DF-BE2F-FEB7-2306-B7DA888013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9FD815-CD4E-51B4-C7FB-228D1EE87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6F21E-84F2-4C40-99E5-220146544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9180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LOCK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>
            <a:extLst>
              <a:ext uri="{FF2B5EF4-FFF2-40B4-BE49-F238E27FC236}">
                <a16:creationId xmlns:a16="http://schemas.microsoft.com/office/drawing/2014/main" id="{2AC8BC53-D372-9340-AD3B-26E013270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202" y="694552"/>
            <a:ext cx="4867656" cy="6035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>
              <a:lnSpc>
                <a:spcPts val="3200"/>
              </a:lnSpc>
              <a:defRPr lang="uk-UA" sz="2400" b="1" i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0990E66-7967-AF44-82A5-3DE7DDE7FA2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AEDC9C98-3A68-1CF6-7AA8-1B211DF7616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202" y="1590261"/>
            <a:ext cx="4867656" cy="4543826"/>
          </a:xfrm>
          <a:prstGeom prst="rect">
            <a:avLst/>
          </a:prstGeom>
        </p:spPr>
        <p:txBody>
          <a:bodyPr/>
          <a:lstStyle>
            <a:lvl1pPr>
              <a:buClr>
                <a:srgbClr val="53565A"/>
              </a:buClr>
              <a:defRPr sz="2400">
                <a:solidFill>
                  <a:srgbClr val="53575A"/>
                </a:solidFill>
                <a:latin typeface="+mj-lt"/>
              </a:defRPr>
            </a:lvl1pPr>
            <a:lvl2pPr marL="182889" indent="-182889">
              <a:buClr>
                <a:srgbClr val="26181E"/>
              </a:buClr>
              <a:buFont typeface="Arial" panose="020B0604020202020204" pitchFamily="34" charset="0"/>
              <a:buChar char="•"/>
              <a:defRPr sz="1900">
                <a:solidFill>
                  <a:srgbClr val="53575A"/>
                </a:solidFill>
              </a:defRPr>
            </a:lvl2pPr>
            <a:lvl3pPr marL="365778">
              <a:buClr>
                <a:srgbClr val="26181E"/>
              </a:buClr>
              <a:defRPr sz="1600">
                <a:solidFill>
                  <a:srgbClr val="53575A"/>
                </a:solidFill>
              </a:defRPr>
            </a:lvl3pPr>
            <a:lvl4pPr marL="548667" indent="-182889">
              <a:buClr>
                <a:srgbClr val="53565A"/>
              </a:buClr>
              <a:defRPr sz="1300">
                <a:solidFill>
                  <a:srgbClr val="53575A"/>
                </a:solidFill>
              </a:defRPr>
            </a:lvl4pPr>
            <a:lvl5pPr marL="731557">
              <a:buClr>
                <a:srgbClr val="53565A"/>
              </a:buClr>
              <a:defRPr sz="1300">
                <a:solidFill>
                  <a:srgbClr val="53575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6EFDAE-DA7F-D84A-9297-4D4AB4FCE14A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B6AC467-0383-12F9-166D-F9290D1C3F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751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618A434-3800-A748-AC57-798E8D653E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6030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618A434-3800-A748-AC57-798E8D653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531F98B-1943-2748-91F0-5AF9E5D55A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34602" y="1598211"/>
            <a:ext cx="9143999" cy="2727981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4200"/>
              </a:lnSpc>
              <a:spcAft>
                <a:spcPts val="0"/>
              </a:spcAft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“Click to add a quote”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9FB328-C12E-4C4E-8CF2-FE671CE3C00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534602" y="4778733"/>
            <a:ext cx="9143999" cy="48105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0C2131F-B45D-6741-9D29-AA5C5AEFDEC1}"/>
              </a:ext>
            </a:extLst>
          </p:cNvPr>
          <p:cNvSpPr txBox="1"/>
          <p:nvPr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17719481-C555-E943-814E-BF2BA8FE344F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113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49D2473-AB7E-6173-BE9E-80117DAC3AD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618A434-3800-A748-AC57-798E8D653E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6030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618A434-3800-A748-AC57-798E8D653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531F98B-1943-2748-91F0-5AF9E5D55A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34602" y="1598211"/>
            <a:ext cx="9143999" cy="2727981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4200"/>
              </a:lnSpc>
              <a:spcAft>
                <a:spcPts val="0"/>
              </a:spcAft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“Click to add a quote”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9FB328-C12E-4C4E-8CF2-FE671CE3C00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534602" y="4778733"/>
            <a:ext cx="9143999" cy="48105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0C2131F-B45D-6741-9D29-AA5C5AEFDEC1}"/>
              </a:ext>
            </a:extLst>
          </p:cNvPr>
          <p:cNvSpPr txBox="1"/>
          <p:nvPr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17719481-C555-E943-814E-BF2BA8FE344F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252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LightGra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8197D9E-0BB0-72C8-0F48-68C9DED6683C}"/>
              </a:ext>
            </a:extLst>
          </p:cNvPr>
          <p:cNvSpPr/>
          <p:nvPr userDrawn="1"/>
        </p:nvSpPr>
        <p:spPr>
          <a:xfrm>
            <a:off x="0" y="-79513"/>
            <a:ext cx="12192000" cy="693751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618A434-3800-A748-AC57-798E8D653E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6030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618A434-3800-A748-AC57-798E8D653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531F98B-1943-2748-91F0-5AF9E5D55A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34602" y="1598211"/>
            <a:ext cx="9143999" cy="2727981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4200"/>
              </a:lnSpc>
              <a:spcAft>
                <a:spcPts val="0"/>
              </a:spcAft>
              <a:defRPr sz="4000">
                <a:solidFill>
                  <a:srgbClr val="004C6C"/>
                </a:solidFill>
              </a:defRPr>
            </a:lvl1pPr>
          </a:lstStyle>
          <a:p>
            <a:pPr lvl="0"/>
            <a:r>
              <a:rPr lang="en-US" dirty="0"/>
              <a:t>“Click to add a quote”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9FB328-C12E-4C4E-8CF2-FE671CE3C00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534602" y="4778733"/>
            <a:ext cx="9143999" cy="48105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rgbClr val="004C6C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0C2131F-B45D-6741-9D29-AA5C5AEFDEC1}"/>
              </a:ext>
            </a:extLst>
          </p:cNvPr>
          <p:cNvSpPr txBox="1"/>
          <p:nvPr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17719481-C555-E943-814E-BF2BA8FE344F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FEE923-0ABA-A39D-1EDA-2E1AF47EFFE6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FDA125C3-36F9-0A60-C169-5139E99A5F79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070B876-0DC8-3A8A-F570-A6EDFD47303F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5" name="Rectangle 5">
              <a:extLst>
                <a:ext uri="{FF2B5EF4-FFF2-40B4-BE49-F238E27FC236}">
                  <a16:creationId xmlns:a16="http://schemas.microsoft.com/office/drawing/2014/main" id="{A2AB407E-8271-5202-91A2-8E24F2B5C4A1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BEFDEFF2-BF8E-CDEA-4099-172C5D61BA89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79072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Body-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691764"/>
            <a:ext cx="10972800" cy="761191"/>
          </a:xfrm>
          <a:prstGeom prst="rect">
            <a:avLst/>
          </a:prstGeom>
        </p:spPr>
        <p:txBody>
          <a:bodyPr/>
          <a:lstStyle>
            <a:lvl1pPr>
              <a:lnSpc>
                <a:spcPts val="3400"/>
              </a:lnSpc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4D4F38A-2A86-0D47-843B-714D3BC1EC1B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84CB06C-E783-2369-C955-FDADEE919D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493" y="1595121"/>
            <a:ext cx="10957905" cy="443690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75A"/>
                </a:solidFill>
              </a:defRPr>
            </a:lvl1pPr>
            <a:lvl2pPr>
              <a:defRPr sz="2000">
                <a:solidFill>
                  <a:srgbClr val="53575A"/>
                </a:solidFill>
              </a:defRPr>
            </a:lvl2pPr>
            <a:lvl3pPr>
              <a:defRPr sz="2000">
                <a:solidFill>
                  <a:srgbClr val="53575A"/>
                </a:solidFill>
              </a:defRPr>
            </a:lvl3pPr>
            <a:lvl4pPr>
              <a:defRPr sz="2000">
                <a:solidFill>
                  <a:srgbClr val="53575A"/>
                </a:solidFill>
              </a:defRPr>
            </a:lvl4pPr>
            <a:lvl5pPr>
              <a:defRPr sz="2000">
                <a:solidFill>
                  <a:srgbClr val="53575A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54AC912-02D2-BD39-73C0-92A86815C1C0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19" name="Rectangle 5">
              <a:extLst>
                <a:ext uri="{FF2B5EF4-FFF2-40B4-BE49-F238E27FC236}">
                  <a16:creationId xmlns:a16="http://schemas.microsoft.com/office/drawing/2014/main" id="{7623BC33-A96E-D7B4-2D19-C60319085D22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2E46339-E146-70A2-2076-C0352FEB6BF6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1" name="Rectangle 5">
              <a:extLst>
                <a:ext uri="{FF2B5EF4-FFF2-40B4-BE49-F238E27FC236}">
                  <a16:creationId xmlns:a16="http://schemas.microsoft.com/office/drawing/2014/main" id="{F4E9B9EB-81FD-27A2-408E-C358BB0CA121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2" name="Rectangle 5">
              <a:extLst>
                <a:ext uri="{FF2B5EF4-FFF2-40B4-BE49-F238E27FC236}">
                  <a16:creationId xmlns:a16="http://schemas.microsoft.com/office/drawing/2014/main" id="{68D1FF21-58B8-EB95-0BBA-27B9BF74AAE1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F34626C0-465A-CE07-0563-90C5351423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055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Body-nobrand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691764"/>
            <a:ext cx="10972800" cy="761191"/>
          </a:xfrm>
          <a:prstGeom prst="rect">
            <a:avLst/>
          </a:prstGeom>
        </p:spPr>
        <p:txBody>
          <a:bodyPr/>
          <a:lstStyle>
            <a:lvl1pPr>
              <a:lnSpc>
                <a:spcPts val="3400"/>
              </a:lnSpc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4D4F38A-2A86-0D47-843B-714D3BC1EC1B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84CB06C-E783-2369-C955-FDADEE919D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493" y="1595121"/>
            <a:ext cx="10957905" cy="457111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75A"/>
                </a:solidFill>
              </a:defRPr>
            </a:lvl1pPr>
            <a:lvl2pPr>
              <a:defRPr sz="2000">
                <a:solidFill>
                  <a:srgbClr val="53575A"/>
                </a:solidFill>
              </a:defRPr>
            </a:lvl2pPr>
            <a:lvl3pPr>
              <a:defRPr sz="2000">
                <a:solidFill>
                  <a:srgbClr val="53575A"/>
                </a:solidFill>
              </a:defRPr>
            </a:lvl3pPr>
            <a:lvl4pPr>
              <a:defRPr sz="2000">
                <a:solidFill>
                  <a:srgbClr val="53575A"/>
                </a:solidFill>
              </a:defRPr>
            </a:lvl4pPr>
            <a:lvl5pPr>
              <a:defRPr sz="2000">
                <a:solidFill>
                  <a:srgbClr val="53575A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EFCA1F7-9191-FC10-7EE9-9FA89ACF3E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46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Body-no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691764"/>
            <a:ext cx="10972800" cy="761191"/>
          </a:xfrm>
          <a:prstGeom prst="rect">
            <a:avLst/>
          </a:prstGeom>
        </p:spPr>
        <p:txBody>
          <a:bodyPr/>
          <a:lstStyle>
            <a:lvl1pPr>
              <a:lnSpc>
                <a:spcPts val="3400"/>
              </a:lnSpc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4D4F38A-2A86-0D47-843B-714D3BC1EC1B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84CB06C-E783-2369-C955-FDADEE919D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493" y="1595121"/>
            <a:ext cx="10957905" cy="4578182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75A"/>
                </a:solidFill>
              </a:defRPr>
            </a:lvl1pPr>
            <a:lvl2pPr>
              <a:defRPr sz="2000">
                <a:solidFill>
                  <a:srgbClr val="53575A"/>
                </a:solidFill>
              </a:defRPr>
            </a:lvl2pPr>
            <a:lvl3pPr>
              <a:defRPr sz="2000">
                <a:solidFill>
                  <a:srgbClr val="53575A"/>
                </a:solidFill>
              </a:defRPr>
            </a:lvl3pPr>
            <a:lvl4pPr>
              <a:defRPr sz="2000">
                <a:solidFill>
                  <a:srgbClr val="53575A"/>
                </a:solidFill>
              </a:defRPr>
            </a:lvl4pPr>
            <a:lvl5pPr>
              <a:defRPr sz="2000">
                <a:solidFill>
                  <a:srgbClr val="53575A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BDED8DA-DFE7-5B86-CC67-8A5B72D77485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A3A0A676-5E53-2453-97F6-E4712F404FA3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C3728BF-DD63-37EE-C4AF-A6AF4617B76B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" name="Rectangle 5">
              <a:extLst>
                <a:ext uri="{FF2B5EF4-FFF2-40B4-BE49-F238E27FC236}">
                  <a16:creationId xmlns:a16="http://schemas.microsoft.com/office/drawing/2014/main" id="{9BC72861-BB4B-8392-4FC0-0C2944729A99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9" name="Rectangle 5">
              <a:extLst>
                <a:ext uri="{FF2B5EF4-FFF2-40B4-BE49-F238E27FC236}">
                  <a16:creationId xmlns:a16="http://schemas.microsoft.com/office/drawing/2014/main" id="{D7F15950-F783-888C-663E-6E68B9DF2454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260590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691764"/>
            <a:ext cx="10972800" cy="914400"/>
          </a:xfrm>
          <a:prstGeom prst="rect">
            <a:avLst/>
          </a:prstGeom>
        </p:spPr>
        <p:txBody>
          <a:bodyPr/>
          <a:lstStyle>
            <a:lvl1pPr>
              <a:lnSpc>
                <a:spcPts val="3400"/>
              </a:lnSpc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4D4F38A-2A86-0D47-843B-714D3BC1EC1B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30473EB-300C-F326-78E6-FF78E6E07DEC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2686654F-F199-D33A-5443-88B38CD7BE7B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AC24C41-FA98-1466-B7E8-B47B0F7B58F0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" name="Rectangle 5">
              <a:extLst>
                <a:ext uri="{FF2B5EF4-FFF2-40B4-BE49-F238E27FC236}">
                  <a16:creationId xmlns:a16="http://schemas.microsoft.com/office/drawing/2014/main" id="{F8441974-055D-971C-B2A6-14399821688E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9" name="Rectangle 5">
              <a:extLst>
                <a:ext uri="{FF2B5EF4-FFF2-40B4-BE49-F238E27FC236}">
                  <a16:creationId xmlns:a16="http://schemas.microsoft.com/office/drawing/2014/main" id="{E541B0E2-2AFF-AEF7-7A0F-205961C7B4F0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0DEB1FC4-9F03-43D7-59D5-E42E56408A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46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no bran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691764"/>
            <a:ext cx="10972800" cy="914400"/>
          </a:xfrm>
          <a:prstGeom prst="rect">
            <a:avLst/>
          </a:prstGeom>
        </p:spPr>
        <p:txBody>
          <a:bodyPr/>
          <a:lstStyle>
            <a:lvl1pPr>
              <a:lnSpc>
                <a:spcPts val="3400"/>
              </a:lnSpc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4D4F38A-2A86-0D47-843B-714D3BC1EC1B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02DB7CD-1D07-4F92-E4E3-994EA7262B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6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text-brandbar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582C181-64A4-B645-AAFE-055D0D59ACAB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A736170-2812-24E0-1391-3570FAA3B70B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14" name="Rectangle 5">
              <a:extLst>
                <a:ext uri="{FF2B5EF4-FFF2-40B4-BE49-F238E27FC236}">
                  <a16:creationId xmlns:a16="http://schemas.microsoft.com/office/drawing/2014/main" id="{C579B4A1-DB3A-9BC6-095E-1E31F83880C6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8895623-A5CF-EF41-2473-813CA47500D8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CFF4AF03-3B13-601B-4779-F9EC316A2103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" name="Rectangle 5">
              <a:extLst>
                <a:ext uri="{FF2B5EF4-FFF2-40B4-BE49-F238E27FC236}">
                  <a16:creationId xmlns:a16="http://schemas.microsoft.com/office/drawing/2014/main" id="{83862001-12AD-99A7-1C6E-15EA7D83BCC1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114124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C554A6-6A68-8901-D00C-1675027B4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64F1B7-07F3-255A-2FDA-D5D9C983CE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0EED8F-C326-E056-F8A9-171C9FED2E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AB82A3-DE30-B986-F379-655896693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F28BD-17D8-450D-85D3-370A98937FB2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91DC02-7C19-3798-263E-02BEC1C8B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DF2C04A-C748-2BC8-3B55-20286EE10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6F21E-84F2-4C40-99E5-220146544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6825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text-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4D4F38A-2A86-0D47-843B-714D3BC1EC1B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C513E0B-CE36-D4E9-897D-8D1590F812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528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p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8F5EBA4-FC70-384B-813E-416C3130685A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230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384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A4D6767-F282-E248-A8EA-1162226F4F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0035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A4D6767-F282-E248-A8EA-1162226F4F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053" y="705382"/>
            <a:ext cx="10958347" cy="5289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4494" y="1627077"/>
            <a:ext cx="5184648" cy="51095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2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 a subhea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494" y="2175717"/>
            <a:ext cx="5184648" cy="399038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75A"/>
                </a:solidFill>
              </a:defRPr>
            </a:lvl1pPr>
            <a:lvl2pPr>
              <a:defRPr sz="2000">
                <a:solidFill>
                  <a:srgbClr val="53575A"/>
                </a:solidFill>
              </a:defRPr>
            </a:lvl2pPr>
            <a:lvl3pPr>
              <a:defRPr sz="2000">
                <a:solidFill>
                  <a:srgbClr val="53575A"/>
                </a:solidFill>
              </a:defRPr>
            </a:lvl3pPr>
            <a:lvl4pPr>
              <a:defRPr sz="2000">
                <a:solidFill>
                  <a:srgbClr val="53575A"/>
                </a:solidFill>
              </a:defRPr>
            </a:lvl4pPr>
            <a:lvl5pPr>
              <a:defRPr sz="2000">
                <a:solidFill>
                  <a:srgbClr val="53575A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03226" y="1627077"/>
            <a:ext cx="5184648" cy="51095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2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 a subhea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6000" y="2175717"/>
            <a:ext cx="5184648" cy="399038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75A"/>
                </a:solidFill>
              </a:defRPr>
            </a:lvl1pPr>
            <a:lvl2pPr>
              <a:defRPr sz="2000">
                <a:solidFill>
                  <a:srgbClr val="53575A"/>
                </a:solidFill>
              </a:defRPr>
            </a:lvl2pPr>
            <a:lvl3pPr>
              <a:defRPr sz="2000">
                <a:solidFill>
                  <a:srgbClr val="53575A"/>
                </a:solidFill>
              </a:defRPr>
            </a:lvl3pPr>
            <a:lvl4pPr>
              <a:defRPr sz="2000">
                <a:solidFill>
                  <a:srgbClr val="53575A"/>
                </a:solidFill>
              </a:defRPr>
            </a:lvl4pPr>
            <a:lvl5pPr>
              <a:defRPr sz="2000">
                <a:solidFill>
                  <a:srgbClr val="53575A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CBCCC4-7C89-CC44-8023-5412D8CF2F16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FAE4DDA-2131-4B7D-4179-8A3AE044CF29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21" name="Rectangle 5">
              <a:extLst>
                <a:ext uri="{FF2B5EF4-FFF2-40B4-BE49-F238E27FC236}">
                  <a16:creationId xmlns:a16="http://schemas.microsoft.com/office/drawing/2014/main" id="{D7A6EDE7-E8FF-41AB-ACCE-DD86D16E1EF1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B1C6F86-810F-77C6-7390-E1A603F221D2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3" name="Rectangle 5">
              <a:extLst>
                <a:ext uri="{FF2B5EF4-FFF2-40B4-BE49-F238E27FC236}">
                  <a16:creationId xmlns:a16="http://schemas.microsoft.com/office/drawing/2014/main" id="{F2CCB91F-5417-1407-BE4F-3B165A31EE1A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4" name="Rectangle 5">
              <a:extLst>
                <a:ext uri="{FF2B5EF4-FFF2-40B4-BE49-F238E27FC236}">
                  <a16:creationId xmlns:a16="http://schemas.microsoft.com/office/drawing/2014/main" id="{A3441CF5-F096-A0CA-4071-0116BD518C8B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4E7E9E9B-B913-1CEF-991C-25EBCEAB9D9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14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A4D6767-F282-E248-A8EA-1162226F4F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0035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A4D6767-F282-E248-A8EA-1162226F4F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053" y="705382"/>
            <a:ext cx="10958347" cy="5289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494" y="1595121"/>
            <a:ext cx="5184648" cy="457098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75A"/>
                </a:solidFill>
              </a:defRPr>
            </a:lvl1pPr>
            <a:lvl2pPr>
              <a:defRPr sz="2000">
                <a:solidFill>
                  <a:srgbClr val="53575A"/>
                </a:solidFill>
              </a:defRPr>
            </a:lvl2pPr>
            <a:lvl3pPr>
              <a:defRPr sz="2000">
                <a:solidFill>
                  <a:srgbClr val="53575A"/>
                </a:solidFill>
              </a:defRPr>
            </a:lvl3pPr>
            <a:lvl4pPr>
              <a:defRPr sz="2000">
                <a:solidFill>
                  <a:srgbClr val="53575A"/>
                </a:solidFill>
              </a:defRPr>
            </a:lvl4pPr>
            <a:lvl5pPr>
              <a:defRPr sz="2000">
                <a:solidFill>
                  <a:srgbClr val="53575A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6000" y="1595121"/>
            <a:ext cx="5184648" cy="457098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75A"/>
                </a:solidFill>
              </a:defRPr>
            </a:lvl1pPr>
            <a:lvl2pPr>
              <a:defRPr sz="2000">
                <a:solidFill>
                  <a:srgbClr val="53575A"/>
                </a:solidFill>
              </a:defRPr>
            </a:lvl2pPr>
            <a:lvl3pPr>
              <a:defRPr sz="2000">
                <a:solidFill>
                  <a:srgbClr val="53575A"/>
                </a:solidFill>
              </a:defRPr>
            </a:lvl3pPr>
            <a:lvl4pPr>
              <a:defRPr sz="2000">
                <a:solidFill>
                  <a:srgbClr val="53575A"/>
                </a:solidFill>
              </a:defRPr>
            </a:lvl4pPr>
            <a:lvl5pPr>
              <a:defRPr sz="2000">
                <a:solidFill>
                  <a:srgbClr val="53575A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CBCCC4-7C89-CC44-8023-5412D8CF2F16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C3114D7-F2A3-01FD-F6F9-5A8CA3FD5FFB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19" name="Rectangle 5">
              <a:extLst>
                <a:ext uri="{FF2B5EF4-FFF2-40B4-BE49-F238E27FC236}">
                  <a16:creationId xmlns:a16="http://schemas.microsoft.com/office/drawing/2014/main" id="{6D929E50-20CE-EA10-6ACB-F7F932E06883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8C156B2-484B-5E60-4E6F-DF7C0CE50F7A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1" name="Rectangle 5">
              <a:extLst>
                <a:ext uri="{FF2B5EF4-FFF2-40B4-BE49-F238E27FC236}">
                  <a16:creationId xmlns:a16="http://schemas.microsoft.com/office/drawing/2014/main" id="{BB089A10-F2D7-D76D-3FE1-E1BEFC7B468A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2" name="Rectangle 5">
              <a:extLst>
                <a:ext uri="{FF2B5EF4-FFF2-40B4-BE49-F238E27FC236}">
                  <a16:creationId xmlns:a16="http://schemas.microsoft.com/office/drawing/2014/main" id="{A748FE7F-D04A-37BE-640E-C8F079846935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C50FB510-A8AB-ABF6-DBD0-29A08D01EAD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236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E4A04DE-6399-454F-AFC2-D18BE1932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30418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E4A04DE-6399-454F-AFC2-D18BE1932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703723"/>
            <a:ext cx="10972800" cy="70805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599" y="1628314"/>
            <a:ext cx="3291840" cy="454587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75A"/>
                </a:solidFill>
              </a:defRPr>
            </a:lvl1pPr>
            <a:lvl2pPr>
              <a:defRPr sz="1600">
                <a:solidFill>
                  <a:srgbClr val="53575A"/>
                </a:solidFill>
              </a:defRPr>
            </a:lvl2pPr>
            <a:lvl3pPr>
              <a:defRPr sz="1600">
                <a:solidFill>
                  <a:srgbClr val="53575A"/>
                </a:solidFill>
              </a:defRPr>
            </a:lvl3pPr>
            <a:lvl4pPr>
              <a:defRPr sz="1600">
                <a:solidFill>
                  <a:srgbClr val="53575A"/>
                </a:solidFill>
              </a:defRPr>
            </a:lvl4pPr>
            <a:lvl5pPr>
              <a:defRPr sz="1600">
                <a:solidFill>
                  <a:srgbClr val="53575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70298" y="1628314"/>
            <a:ext cx="3291840" cy="454587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75A"/>
                </a:solidFill>
              </a:defRPr>
            </a:lvl1pPr>
            <a:lvl2pPr>
              <a:defRPr sz="1600">
                <a:solidFill>
                  <a:srgbClr val="53575A"/>
                </a:solidFill>
              </a:defRPr>
            </a:lvl2pPr>
            <a:lvl3pPr>
              <a:defRPr sz="1600">
                <a:solidFill>
                  <a:srgbClr val="53575A"/>
                </a:solidFill>
              </a:defRPr>
            </a:lvl3pPr>
            <a:lvl4pPr>
              <a:defRPr sz="1600">
                <a:solidFill>
                  <a:srgbClr val="53575A"/>
                </a:solidFill>
              </a:defRPr>
            </a:lvl4pPr>
            <a:lvl5pPr>
              <a:defRPr sz="1600">
                <a:solidFill>
                  <a:srgbClr val="53575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50FC09F-6039-F14B-B7C1-8D179271AAE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7930997" y="1628314"/>
            <a:ext cx="3291840" cy="454587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75A"/>
                </a:solidFill>
              </a:defRPr>
            </a:lvl1pPr>
            <a:lvl2pPr>
              <a:defRPr sz="1600">
                <a:solidFill>
                  <a:srgbClr val="53575A"/>
                </a:solidFill>
              </a:defRPr>
            </a:lvl2pPr>
            <a:lvl3pPr>
              <a:defRPr sz="1600">
                <a:solidFill>
                  <a:srgbClr val="53575A"/>
                </a:solidFill>
              </a:defRPr>
            </a:lvl3pPr>
            <a:lvl4pPr>
              <a:defRPr sz="1600">
                <a:solidFill>
                  <a:srgbClr val="53575A"/>
                </a:solidFill>
              </a:defRPr>
            </a:lvl4pPr>
            <a:lvl5pPr>
              <a:defRPr sz="1600">
                <a:solidFill>
                  <a:srgbClr val="53575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2FA398-58BA-094D-9C74-0277DBFB3DDC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E0509E9-3B79-7070-62FA-907D3453AEE7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id="{A566A57D-7C66-EAB3-B34B-FB3077A9F9F5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D145641-7B8C-D69D-2590-9534188A68A9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4" name="Rectangle 5">
              <a:extLst>
                <a:ext uri="{FF2B5EF4-FFF2-40B4-BE49-F238E27FC236}">
                  <a16:creationId xmlns:a16="http://schemas.microsoft.com/office/drawing/2014/main" id="{003D6938-F9FB-CE96-747A-5B4CCD6DBA4C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5" name="Rectangle 5">
              <a:extLst>
                <a:ext uri="{FF2B5EF4-FFF2-40B4-BE49-F238E27FC236}">
                  <a16:creationId xmlns:a16="http://schemas.microsoft.com/office/drawing/2014/main" id="{CBE0C0D6-D1D3-1846-1360-29EBC6344EC4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3A5B73B2-D5C1-9D34-9BC1-3719C94AB7E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127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- 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CE69F91-1C2B-2B40-BBC7-62B4E4AA0BE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4680" y="1610075"/>
            <a:ext cx="1168401" cy="1010469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126BDFA-0B7C-C04E-9B57-456717EB7F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4680" y="2989569"/>
            <a:ext cx="1168401" cy="1010469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E2008D3C-3301-F544-B898-B5FBF3B5B32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4680" y="4354388"/>
            <a:ext cx="1168401" cy="1010469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160791" y="2989569"/>
            <a:ext cx="9580691" cy="101070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53575A"/>
                </a:solidFill>
                <a:latin typeface="+mj-lt"/>
              </a:defRPr>
            </a:lvl1pPr>
            <a:lvl2pPr marL="0" indent="0">
              <a:buNone/>
              <a:defRPr sz="1600">
                <a:solidFill>
                  <a:srgbClr val="53575A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F2D01EC0-CF3D-884D-955B-D769EC9BE7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160792" y="1610075"/>
            <a:ext cx="9580538" cy="101070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53575A"/>
                </a:solidFill>
                <a:latin typeface="+mj-lt"/>
              </a:defRPr>
            </a:lvl1pPr>
            <a:lvl2pPr marL="0" indent="0">
              <a:buNone/>
              <a:defRPr sz="1600">
                <a:solidFill>
                  <a:srgbClr val="53575A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C29B03AD-D8C3-264C-A8DF-4C1A85127B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160791" y="4354388"/>
            <a:ext cx="9580726" cy="101070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53575A"/>
                </a:solidFill>
                <a:latin typeface="+mj-lt"/>
              </a:defRPr>
            </a:lvl1pPr>
            <a:lvl2pPr marL="0" indent="0">
              <a:buNone/>
              <a:defRPr sz="1600">
                <a:solidFill>
                  <a:srgbClr val="53575A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6233335-B7F9-384B-9453-CE82C9BDC8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704001"/>
            <a:ext cx="10972800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4552291-F5B2-B343-A13B-DC53E157B407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FE7ABA5-57DB-1ED3-75D8-F84C61D4D134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4" name="Rectangle 5">
              <a:extLst>
                <a:ext uri="{FF2B5EF4-FFF2-40B4-BE49-F238E27FC236}">
                  <a16:creationId xmlns:a16="http://schemas.microsoft.com/office/drawing/2014/main" id="{19FC25D8-7304-0909-2848-799EE944F2A9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47DB9465-F3F4-E854-0287-8ABAD907F9DB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EEB2E4C-AA0B-CE4F-C776-99A077BEF58F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" name="Rectangle 5">
              <a:extLst>
                <a:ext uri="{FF2B5EF4-FFF2-40B4-BE49-F238E27FC236}">
                  <a16:creationId xmlns:a16="http://schemas.microsoft.com/office/drawing/2014/main" id="{72D54DC3-77CF-0491-1FEF-BF9D534EB7FE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A72A1490-E59D-19B9-CD61-7480C62095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510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o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EA140E-C3B9-7249-8B71-09A343E86A9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600" y="689063"/>
            <a:ext cx="10972800" cy="9274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Picture Placeholder 12"/>
          <p:cNvSpPr>
            <a:spLocks noGrp="1"/>
          </p:cNvSpPr>
          <p:nvPr userDrawn="1">
            <p:ph type="pic" sz="quarter" idx="11"/>
          </p:nvPr>
        </p:nvSpPr>
        <p:spPr>
          <a:xfrm>
            <a:off x="3261280" y="1928460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>
              <a:defRPr sz="1333"/>
            </a:lvl1pPr>
          </a:lstStyle>
          <a:p>
            <a:r>
              <a:rPr lang="en-US" dirty="0"/>
              <a:t>Click icon to add picture</a:t>
            </a:r>
            <a:endParaRPr lang="uk-U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B85BD6-1A03-1946-9B62-D5C7E43C47BF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2597506" y="3748997"/>
            <a:ext cx="2961276" cy="1599243"/>
          </a:xfrm>
          <a:prstGeom prst="rect">
            <a:avLst/>
          </a:prstGeom>
        </p:spPr>
        <p:txBody>
          <a:bodyPr/>
          <a:lstStyle>
            <a:lvl1pPr algn="ctr">
              <a:defRPr sz="2800" b="1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  <a:latin typeface="+mj-lt"/>
              </a:defRPr>
            </a:lvl2pPr>
            <a:lvl3pPr marL="6350" indent="0" algn="ctr">
              <a:buNone/>
              <a:tabLst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sp>
        <p:nvSpPr>
          <p:cNvPr id="10" name="Picture Placeholder 12"/>
          <p:cNvSpPr>
            <a:spLocks noGrp="1"/>
          </p:cNvSpPr>
          <p:nvPr userDrawn="1">
            <p:ph type="pic" sz="quarter" idx="12"/>
          </p:nvPr>
        </p:nvSpPr>
        <p:spPr>
          <a:xfrm>
            <a:off x="7296993" y="1928460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>
              <a:defRPr sz="1333"/>
            </a:lvl1pPr>
          </a:lstStyle>
          <a:p>
            <a:r>
              <a:rPr lang="en-US"/>
              <a:t>Click icon to add picture</a:t>
            </a:r>
            <a:endParaRPr lang="uk-UA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1169706-2771-1342-BC54-D83D997E21A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633219" y="3748997"/>
            <a:ext cx="2961276" cy="1599243"/>
          </a:xfrm>
          <a:prstGeom prst="rect">
            <a:avLst/>
          </a:prstGeom>
        </p:spPr>
        <p:txBody>
          <a:bodyPr/>
          <a:lstStyle>
            <a:lvl1pPr algn="ctr">
              <a:defRPr lang="en-US" sz="2800" b="1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  <a:latin typeface="+mj-lt"/>
              </a:defRPr>
            </a:lvl2pPr>
            <a:lvl3pPr marL="6350" indent="0" algn="ctr">
              <a:buNone/>
              <a:tabLst/>
              <a:defRPr sz="1600">
                <a:solidFill>
                  <a:schemeClr val="tx1"/>
                </a:solidFill>
              </a:defRPr>
            </a:lvl3pPr>
          </a:lstStyle>
          <a:p>
            <a:pPr marL="0" lvl="0" indent="0" algn="ctr" defTabSz="457200" rtl="0" eaLnBrk="1" latinLnBrk="0" hangingPunct="1">
              <a:spcBef>
                <a:spcPts val="0"/>
              </a:spcBef>
              <a:buFont typeface="Arial"/>
              <a:buNone/>
            </a:pPr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BD7CFC9-DE19-B64A-9788-DA37B8731450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23F6519-FC90-2CD1-7567-739D2EE6992E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5" name="Rectangle 5">
              <a:extLst>
                <a:ext uri="{FF2B5EF4-FFF2-40B4-BE49-F238E27FC236}">
                  <a16:creationId xmlns:a16="http://schemas.microsoft.com/office/drawing/2014/main" id="{EE2A12F1-F029-027D-0076-BC41122A53E4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B163961-CC8F-300F-D9F5-8733C2559466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C1C8EFC7-3145-18EB-A8C8-FD086894A870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" name="Rectangle 5">
              <a:extLst>
                <a:ext uri="{FF2B5EF4-FFF2-40B4-BE49-F238E27FC236}">
                  <a16:creationId xmlns:a16="http://schemas.microsoft.com/office/drawing/2014/main" id="{79F9A56D-6496-430C-6B0B-C8B45F6DE88E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AA667224-A4CF-C986-1C66-6739202C09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205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cons - 4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03732"/>
            <a:ext cx="2052099" cy="1903267"/>
          </a:xfrm>
          <a:prstGeom prst="rect">
            <a:avLst/>
          </a:prstGeom>
        </p:spPr>
        <p:txBody>
          <a:bodyPr/>
          <a:lstStyle>
            <a:lvl1pPr algn="ctr">
              <a:buClr>
                <a:srgbClr val="53565A"/>
              </a:buClr>
              <a:defRPr sz="2000">
                <a:solidFill>
                  <a:srgbClr val="53575A"/>
                </a:solidFill>
                <a:latin typeface="+mj-lt"/>
              </a:defRPr>
            </a:lvl1pPr>
            <a:lvl2pPr marL="0" indent="0" algn="ctr">
              <a:buClr>
                <a:srgbClr val="53565A"/>
              </a:buClr>
              <a:buNone/>
              <a:defRPr sz="1400">
                <a:solidFill>
                  <a:srgbClr val="53575A"/>
                </a:solidFill>
              </a:defRPr>
            </a:lvl2pPr>
            <a:lvl3pPr>
              <a:buClr>
                <a:srgbClr val="53565A"/>
              </a:buClr>
              <a:defRPr>
                <a:solidFill>
                  <a:srgbClr val="53575A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F2048F1C-F2E1-6845-AE56-DA7D9FFCA3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246512" y="1928461"/>
            <a:ext cx="1235474" cy="1068476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94222"/>
            <a:ext cx="10972800" cy="9274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B7D12890-ED12-AA40-B7B0-84A4DA0925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610310" y="3303732"/>
            <a:ext cx="2052099" cy="1903267"/>
          </a:xfrm>
          <a:prstGeom prst="rect">
            <a:avLst/>
          </a:prstGeom>
        </p:spPr>
        <p:txBody>
          <a:bodyPr/>
          <a:lstStyle>
            <a:lvl1pPr algn="ctr">
              <a:buClr>
                <a:srgbClr val="53565A"/>
              </a:buClr>
              <a:defRPr sz="2000">
                <a:solidFill>
                  <a:srgbClr val="53575A"/>
                </a:solidFill>
                <a:latin typeface="+mj-lt"/>
              </a:defRPr>
            </a:lvl1pPr>
            <a:lvl2pPr marL="0" indent="0" algn="ctr">
              <a:buClr>
                <a:srgbClr val="53565A"/>
              </a:buClr>
              <a:buNone/>
              <a:defRPr sz="1400">
                <a:solidFill>
                  <a:srgbClr val="53575A"/>
                </a:solidFill>
              </a:defRPr>
            </a:lvl2pPr>
            <a:lvl3pPr>
              <a:buClr>
                <a:srgbClr val="53565A"/>
              </a:buClr>
              <a:defRPr>
                <a:solidFill>
                  <a:srgbClr val="53575A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Picture Placeholder 2">
            <a:extLst>
              <a:ext uri="{FF2B5EF4-FFF2-40B4-BE49-F238E27FC236}">
                <a16:creationId xmlns:a16="http://schemas.microsoft.com/office/drawing/2014/main" id="{B13F09CB-1E40-A641-AB2E-7A71B33EED1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018622" y="1928461"/>
            <a:ext cx="1235474" cy="1068476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1" name="Text Placeholder 27">
            <a:extLst>
              <a:ext uri="{FF2B5EF4-FFF2-40B4-BE49-F238E27FC236}">
                <a16:creationId xmlns:a16="http://schemas.microsoft.com/office/drawing/2014/main" id="{122A85D7-8C23-BC44-A5B6-BBE9BAA3E9E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8155" y="3303732"/>
            <a:ext cx="2052099" cy="1903267"/>
          </a:xfrm>
          <a:prstGeom prst="rect">
            <a:avLst/>
          </a:prstGeom>
        </p:spPr>
        <p:txBody>
          <a:bodyPr/>
          <a:lstStyle>
            <a:lvl1pPr algn="ctr">
              <a:buClr>
                <a:srgbClr val="53565A"/>
              </a:buClr>
              <a:defRPr sz="2000">
                <a:solidFill>
                  <a:srgbClr val="53575A"/>
                </a:solidFill>
                <a:latin typeface="+mj-lt"/>
              </a:defRPr>
            </a:lvl1pPr>
            <a:lvl2pPr marL="0" indent="0" algn="ctr">
              <a:buClr>
                <a:srgbClr val="53565A"/>
              </a:buClr>
              <a:buNone/>
              <a:defRPr sz="1400">
                <a:solidFill>
                  <a:srgbClr val="53575A"/>
                </a:solidFill>
              </a:defRPr>
            </a:lvl2pPr>
            <a:lvl3pPr>
              <a:buClr>
                <a:srgbClr val="53565A"/>
              </a:buClr>
              <a:defRPr>
                <a:solidFill>
                  <a:srgbClr val="53575A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2" name="Picture Placeholder 2">
            <a:extLst>
              <a:ext uri="{FF2B5EF4-FFF2-40B4-BE49-F238E27FC236}">
                <a16:creationId xmlns:a16="http://schemas.microsoft.com/office/drawing/2014/main" id="{75C41EEB-07AE-AF48-A7D1-C54F9E96904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836467" y="1928461"/>
            <a:ext cx="1235474" cy="1068476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4" name="Text Placeholder 27">
            <a:extLst>
              <a:ext uri="{FF2B5EF4-FFF2-40B4-BE49-F238E27FC236}">
                <a16:creationId xmlns:a16="http://schemas.microsoft.com/office/drawing/2014/main" id="{FCB5E230-9DD3-524C-A68B-419C895597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227338" y="3303732"/>
            <a:ext cx="2052099" cy="1903267"/>
          </a:xfrm>
          <a:prstGeom prst="rect">
            <a:avLst/>
          </a:prstGeom>
        </p:spPr>
        <p:txBody>
          <a:bodyPr/>
          <a:lstStyle>
            <a:lvl1pPr algn="ctr">
              <a:buClr>
                <a:srgbClr val="53565A"/>
              </a:buClr>
              <a:defRPr sz="2000">
                <a:solidFill>
                  <a:srgbClr val="53575A"/>
                </a:solidFill>
                <a:latin typeface="+mj-lt"/>
              </a:defRPr>
            </a:lvl1pPr>
            <a:lvl2pPr marL="0" indent="0" algn="ctr">
              <a:buClr>
                <a:srgbClr val="53565A"/>
              </a:buClr>
              <a:buNone/>
              <a:defRPr sz="1400">
                <a:solidFill>
                  <a:srgbClr val="53575A"/>
                </a:solidFill>
              </a:defRPr>
            </a:lvl2pPr>
            <a:lvl3pPr>
              <a:buClr>
                <a:srgbClr val="53565A"/>
              </a:buClr>
              <a:defRPr>
                <a:solidFill>
                  <a:srgbClr val="53575A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Picture Placeholder 2">
            <a:extLst>
              <a:ext uri="{FF2B5EF4-FFF2-40B4-BE49-F238E27FC236}">
                <a16:creationId xmlns:a16="http://schemas.microsoft.com/office/drawing/2014/main" id="{C2F79DDA-1A69-654B-BB34-092D20E1E1C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635650" y="1928461"/>
            <a:ext cx="1235474" cy="1068476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2C7CE65-2A50-0C41-8E2A-070030CCB2B5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ACC8554-816F-CE3A-113E-E5661F4424AF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4" name="Rectangle 5">
              <a:extLst>
                <a:ext uri="{FF2B5EF4-FFF2-40B4-BE49-F238E27FC236}">
                  <a16:creationId xmlns:a16="http://schemas.microsoft.com/office/drawing/2014/main" id="{8EAA635E-B2A5-5208-8A77-F3DA8EC32065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DBE6E31-A7D1-85D3-FBD7-7DB9CCBE42DB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633E935-B5F7-1274-8876-CACBBF1702E1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46FD813A-0B9D-D909-0895-B485E7CE9EF5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C171A33D-981C-E43B-1F53-6B1F4FF803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994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cons - 4 columns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3724" y="2468880"/>
            <a:ext cx="2052099" cy="3427267"/>
          </a:xfrm>
          <a:prstGeom prst="rect">
            <a:avLst/>
          </a:prstGeom>
        </p:spPr>
        <p:txBody>
          <a:bodyPr/>
          <a:lstStyle>
            <a:lvl1pPr marL="285750" indent="-285750" algn="l">
              <a:buClr>
                <a:srgbClr val="53565A"/>
              </a:buClr>
              <a:buFont typeface="Arial" panose="020B0604020202020204" pitchFamily="34" charset="0"/>
              <a:buChar char="•"/>
              <a:defRPr sz="1600">
                <a:solidFill>
                  <a:srgbClr val="53575A"/>
                </a:solidFill>
                <a:latin typeface="+mn-lt"/>
              </a:defRPr>
            </a:lvl1pPr>
            <a:lvl2pPr marL="285750" indent="-285750" algn="l">
              <a:buClr>
                <a:srgbClr val="53565A"/>
              </a:buClr>
              <a:buFont typeface="Arial" panose="020B0604020202020204" pitchFamily="34" charset="0"/>
              <a:buChar char="•"/>
              <a:defRPr sz="1400">
                <a:solidFill>
                  <a:srgbClr val="53575A"/>
                </a:solidFill>
              </a:defRPr>
            </a:lvl2pPr>
            <a:lvl3pPr>
              <a:buClr>
                <a:srgbClr val="53565A"/>
              </a:buClr>
              <a:defRPr>
                <a:solidFill>
                  <a:srgbClr val="53575A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F2048F1C-F2E1-6845-AE56-DA7D9FFCA3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3724" y="1603745"/>
            <a:ext cx="2075290" cy="8382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76301"/>
            <a:ext cx="10972800" cy="7901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9" name="Picture Placeholder 2">
            <a:extLst>
              <a:ext uri="{FF2B5EF4-FFF2-40B4-BE49-F238E27FC236}">
                <a16:creationId xmlns:a16="http://schemas.microsoft.com/office/drawing/2014/main" id="{B13F09CB-1E40-A641-AB2E-7A71B33EED1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76005" y="1603745"/>
            <a:ext cx="2052099" cy="8382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42" name="Picture Placeholder 2">
            <a:extLst>
              <a:ext uri="{FF2B5EF4-FFF2-40B4-BE49-F238E27FC236}">
                <a16:creationId xmlns:a16="http://schemas.microsoft.com/office/drawing/2014/main" id="{75C41EEB-07AE-AF48-A7D1-C54F9E96904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610403" y="1603745"/>
            <a:ext cx="2048786" cy="8382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45" name="Picture Placeholder 2">
            <a:extLst>
              <a:ext uri="{FF2B5EF4-FFF2-40B4-BE49-F238E27FC236}">
                <a16:creationId xmlns:a16="http://schemas.microsoft.com/office/drawing/2014/main" id="{C2F79DDA-1A69-654B-BB34-092D20E1E1C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507110" y="1603745"/>
            <a:ext cx="2052099" cy="8382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6" name="Text Placeholder 27">
            <a:extLst>
              <a:ext uri="{FF2B5EF4-FFF2-40B4-BE49-F238E27FC236}">
                <a16:creationId xmlns:a16="http://schemas.microsoft.com/office/drawing/2014/main" id="{C6156865-5B3C-0449-89D2-6128236C579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96792" y="2468880"/>
            <a:ext cx="2052099" cy="3427267"/>
          </a:xfrm>
          <a:prstGeom prst="rect">
            <a:avLst/>
          </a:prstGeom>
        </p:spPr>
        <p:txBody>
          <a:bodyPr/>
          <a:lstStyle>
            <a:lvl1pPr marL="285750" indent="-285750" algn="l">
              <a:buClr>
                <a:srgbClr val="53565A"/>
              </a:buClr>
              <a:buFont typeface="Arial" panose="020B0604020202020204" pitchFamily="34" charset="0"/>
              <a:buChar char="•"/>
              <a:defRPr sz="1600">
                <a:solidFill>
                  <a:srgbClr val="53575A"/>
                </a:solidFill>
                <a:latin typeface="+mn-lt"/>
              </a:defRPr>
            </a:lvl1pPr>
            <a:lvl2pPr marL="285750" indent="-285750" algn="l">
              <a:buClr>
                <a:srgbClr val="53565A"/>
              </a:buClr>
              <a:buFont typeface="Arial" panose="020B0604020202020204" pitchFamily="34" charset="0"/>
              <a:buChar char="•"/>
              <a:defRPr sz="1400">
                <a:solidFill>
                  <a:srgbClr val="53575A"/>
                </a:solidFill>
              </a:defRPr>
            </a:lvl2pPr>
            <a:lvl3pPr>
              <a:buClr>
                <a:srgbClr val="53565A"/>
              </a:buClr>
              <a:defRPr>
                <a:solidFill>
                  <a:srgbClr val="53575A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Text Placeholder 27">
            <a:extLst>
              <a:ext uri="{FF2B5EF4-FFF2-40B4-BE49-F238E27FC236}">
                <a16:creationId xmlns:a16="http://schemas.microsoft.com/office/drawing/2014/main" id="{A19A5554-351C-E748-AE01-736B4E92830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622805" y="2468880"/>
            <a:ext cx="2052099" cy="3427267"/>
          </a:xfrm>
          <a:prstGeom prst="rect">
            <a:avLst/>
          </a:prstGeom>
        </p:spPr>
        <p:txBody>
          <a:bodyPr/>
          <a:lstStyle>
            <a:lvl1pPr marL="285750" indent="-285750" algn="l">
              <a:buClr>
                <a:srgbClr val="53565A"/>
              </a:buClr>
              <a:buFont typeface="Arial" panose="020B0604020202020204" pitchFamily="34" charset="0"/>
              <a:buChar char="•"/>
              <a:defRPr sz="1600">
                <a:solidFill>
                  <a:srgbClr val="53575A"/>
                </a:solidFill>
                <a:latin typeface="+mn-lt"/>
              </a:defRPr>
            </a:lvl1pPr>
            <a:lvl2pPr marL="285750" indent="-285750" algn="l">
              <a:buClr>
                <a:srgbClr val="53565A"/>
              </a:buClr>
              <a:buFont typeface="Arial" panose="020B0604020202020204" pitchFamily="34" charset="0"/>
              <a:buChar char="•"/>
              <a:defRPr sz="1400">
                <a:solidFill>
                  <a:srgbClr val="53575A"/>
                </a:solidFill>
              </a:defRPr>
            </a:lvl2pPr>
            <a:lvl3pPr>
              <a:buClr>
                <a:srgbClr val="53565A"/>
              </a:buClr>
              <a:defRPr>
                <a:solidFill>
                  <a:srgbClr val="53575A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Text Placeholder 27">
            <a:extLst>
              <a:ext uri="{FF2B5EF4-FFF2-40B4-BE49-F238E27FC236}">
                <a16:creationId xmlns:a16="http://schemas.microsoft.com/office/drawing/2014/main" id="{B0DCA751-DD98-704E-B9EF-BD1ED476F65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536417" y="2468880"/>
            <a:ext cx="2052099" cy="3427267"/>
          </a:xfrm>
          <a:prstGeom prst="rect">
            <a:avLst/>
          </a:prstGeom>
        </p:spPr>
        <p:txBody>
          <a:bodyPr/>
          <a:lstStyle>
            <a:lvl1pPr marL="285750" indent="-285750" algn="l">
              <a:buClr>
                <a:srgbClr val="53565A"/>
              </a:buClr>
              <a:buFont typeface="Arial" panose="020B0604020202020204" pitchFamily="34" charset="0"/>
              <a:buChar char="•"/>
              <a:defRPr sz="1600">
                <a:solidFill>
                  <a:srgbClr val="26181E"/>
                </a:solidFill>
                <a:latin typeface="+mn-lt"/>
              </a:defRPr>
            </a:lvl1pPr>
            <a:lvl2pPr marL="285750" indent="-285750" algn="l">
              <a:buClr>
                <a:srgbClr val="53565A"/>
              </a:buClr>
              <a:buFont typeface="Arial" panose="020B0604020202020204" pitchFamily="34" charset="0"/>
              <a:buChar char="•"/>
              <a:defRPr sz="1400">
                <a:solidFill>
                  <a:srgbClr val="26181E"/>
                </a:solidFill>
              </a:defRPr>
            </a:lvl2pPr>
            <a:lvl3pPr>
              <a:buClr>
                <a:srgbClr val="53565A"/>
              </a:buClr>
              <a:defRPr>
                <a:solidFill>
                  <a:srgbClr val="26181E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7955FEB-028A-284B-945C-1F1CD985E390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832BAF1-6F5F-322C-BB93-0109EEB53280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5" name="Rectangle 5">
              <a:extLst>
                <a:ext uri="{FF2B5EF4-FFF2-40B4-BE49-F238E27FC236}">
                  <a16:creationId xmlns:a16="http://schemas.microsoft.com/office/drawing/2014/main" id="{46E5061E-50F5-264F-1D38-7C80AE7E0826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A4706DA-D347-EFA0-1336-C3A224F0BA56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78ACBEB1-6005-33E9-8EB2-CF15E2256BA5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" name="Rectangle 5">
              <a:extLst>
                <a:ext uri="{FF2B5EF4-FFF2-40B4-BE49-F238E27FC236}">
                  <a16:creationId xmlns:a16="http://schemas.microsoft.com/office/drawing/2014/main" id="{932D3D1F-DF4F-651E-40C5-7F7D17071B38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6115B487-A8C5-C02C-C223-78A935A15A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497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38D403-D431-FC88-3538-C46E74A2A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A80EAA-66D1-6C52-3A08-38B44A6732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6A4CDD-68DF-5065-C08B-4430539DB7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A8BA22-2A9B-D8C0-A0AE-B298F33D52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8DCED94-88DE-D7AB-B654-7B486F37AA5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C6EF808-D09C-61EE-7048-E4F0B59673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F28BD-17D8-450D-85D3-370A98937FB2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B9B5CB2-B223-71B3-539B-721BCAC43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8F87369-F88B-C3CF-82D4-167CEE820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6F21E-84F2-4C40-99E5-220146544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32234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– 6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703949"/>
            <a:ext cx="10972800" cy="9274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7">
            <a:extLst>
              <a:ext uri="{FF2B5EF4-FFF2-40B4-BE49-F238E27FC236}">
                <a16:creationId xmlns:a16="http://schemas.microsoft.com/office/drawing/2014/main" id="{7CC704BF-BF3D-024D-B738-B65955F295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43467" y="1631393"/>
            <a:ext cx="2118934" cy="1909033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53575A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rgbClr val="53575A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EE03D656-1E15-3047-9BA5-8C2AAB66615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09600" y="1635427"/>
            <a:ext cx="1066800" cy="9906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Text Placeholder 27">
            <a:extLst>
              <a:ext uri="{FF2B5EF4-FFF2-40B4-BE49-F238E27FC236}">
                <a16:creationId xmlns:a16="http://schemas.microsoft.com/office/drawing/2014/main" id="{E936429C-6FC6-6F41-AF70-D74F895D9BF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843467" y="3822284"/>
            <a:ext cx="2118934" cy="1909033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53575A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rgbClr val="53575A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0654711-F4DC-1443-8364-88300A935AC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" y="3826318"/>
            <a:ext cx="1066800" cy="9906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Text Placeholder 27">
            <a:extLst>
              <a:ext uri="{FF2B5EF4-FFF2-40B4-BE49-F238E27FC236}">
                <a16:creationId xmlns:a16="http://schemas.microsoft.com/office/drawing/2014/main" id="{B6149113-83C5-F64D-A022-750A71D1716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88862" y="1631393"/>
            <a:ext cx="2118934" cy="1909033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53575A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rgbClr val="53575A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06FCDE7A-C97C-1D4C-A2B2-8147330CEB41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354995" y="1635427"/>
            <a:ext cx="1066800" cy="9906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9B4FA79F-DB43-7B4F-96AB-0A3CE28D4F8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88862" y="3822284"/>
            <a:ext cx="2118934" cy="1909033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53575A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rgbClr val="53575A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D5557A05-C7B8-F14B-B327-469326E1984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354995" y="3826318"/>
            <a:ext cx="1066800" cy="9906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27">
            <a:extLst>
              <a:ext uri="{FF2B5EF4-FFF2-40B4-BE49-F238E27FC236}">
                <a16:creationId xmlns:a16="http://schemas.microsoft.com/office/drawing/2014/main" id="{93AA740E-8B56-954D-A466-9454A093C86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307753" y="1631393"/>
            <a:ext cx="2118934" cy="1909033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53575A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rgbClr val="53575A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873A910-733F-8243-A144-6D1316E727D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8073886" y="1635427"/>
            <a:ext cx="1066800" cy="9906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7">
            <a:extLst>
              <a:ext uri="{FF2B5EF4-FFF2-40B4-BE49-F238E27FC236}">
                <a16:creationId xmlns:a16="http://schemas.microsoft.com/office/drawing/2014/main" id="{7605D117-5C56-FB45-8A25-81E8F635DA3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07753" y="3822284"/>
            <a:ext cx="2118934" cy="1909033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53575A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rgbClr val="53575A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CD08D36E-55B7-D04B-A0CA-59230B638F3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8073886" y="3826318"/>
            <a:ext cx="1066800" cy="9906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0648766-9794-B246-848F-0A101094F71F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C4CDC35-6719-BF00-6C06-0FCFFA39956D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4" name="Rectangle 5">
              <a:extLst>
                <a:ext uri="{FF2B5EF4-FFF2-40B4-BE49-F238E27FC236}">
                  <a16:creationId xmlns:a16="http://schemas.microsoft.com/office/drawing/2014/main" id="{082ECB8F-EAAE-4EC2-AB09-6994912EF233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500E22C-4C6C-F96C-6099-2438E6112001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9735BDE-E720-8BF5-89D8-CB7E9AE7A959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0089B2FA-6AF8-1B39-F3AA-F69C5F6447EF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7D8A4D9B-A366-E841-ABA8-BFD74D5F20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256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con - 1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F2048F1C-F2E1-6845-AE56-DA7D9FFCA3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3724" y="2522050"/>
            <a:ext cx="2052099" cy="175925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solidFill>
                  <a:srgbClr val="53575A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98968"/>
            <a:ext cx="10972800" cy="9274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1314CF3-F2AE-61A9-A74A-81F13A7FAAE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85758" y="2996182"/>
            <a:ext cx="7251762" cy="312898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C3AFAE48-89AC-E1E1-B097-AAEF7E6E06E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85758" y="2522050"/>
            <a:ext cx="7251762" cy="297581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E53C7A-8F24-3E44-8D46-14E1C2E52C3C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1BDB8EB-89FC-7418-A280-8B6A64A7B0DE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4" name="Rectangle 5">
              <a:extLst>
                <a:ext uri="{FF2B5EF4-FFF2-40B4-BE49-F238E27FC236}">
                  <a16:creationId xmlns:a16="http://schemas.microsoft.com/office/drawing/2014/main" id="{1E5C44C0-3F13-9911-EEF7-2C6B1243546F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6B1C90D-D8B4-AEF4-9CF4-79302A24F27E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F3695A6-580B-9158-89C8-1C3A57A061A5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653D1B56-5023-7F2D-7E3A-1FA92A362B8A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5106051B-792F-2711-DB7C-A36F09989A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483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88609"/>
            <a:ext cx="10972800" cy="4800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27">
            <a:extLst>
              <a:ext uri="{FF2B5EF4-FFF2-40B4-BE49-F238E27FC236}">
                <a16:creationId xmlns:a16="http://schemas.microsoft.com/office/drawing/2014/main" id="{38E99771-2EE7-3742-A848-DF68A2A26E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72610" y="1305953"/>
            <a:ext cx="4691699" cy="1010708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337DDD24-6186-4541-A78C-FB500FDEB59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5909" y="1305848"/>
            <a:ext cx="1168400" cy="1011238"/>
          </a:xfrm>
          <a:prstGeom prst="rect">
            <a:avLst/>
          </a:prstGeo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" name="Text Placeholder 27">
            <a:extLst>
              <a:ext uri="{FF2B5EF4-FFF2-40B4-BE49-F238E27FC236}">
                <a16:creationId xmlns:a16="http://schemas.microsoft.com/office/drawing/2014/main" id="{4753FF27-D0D4-D948-B852-6CBF468483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62662" y="1305953"/>
            <a:ext cx="4513429" cy="1010708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ext Placeholder 27">
            <a:extLst>
              <a:ext uri="{FF2B5EF4-FFF2-40B4-BE49-F238E27FC236}">
                <a16:creationId xmlns:a16="http://schemas.microsoft.com/office/drawing/2014/main" id="{EE36691B-0E89-2645-BE3C-A3371167639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72610" y="2473781"/>
            <a:ext cx="4691699" cy="1010708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12C85B75-E2FA-8244-B577-FAD838AFDB3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15909" y="2473676"/>
            <a:ext cx="1168400" cy="1011238"/>
          </a:xfrm>
          <a:prstGeom prst="rect">
            <a:avLst/>
          </a:prstGeo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4" name="Text Placeholder 27">
            <a:extLst>
              <a:ext uri="{FF2B5EF4-FFF2-40B4-BE49-F238E27FC236}">
                <a16:creationId xmlns:a16="http://schemas.microsoft.com/office/drawing/2014/main" id="{9A6F45E9-68FD-AB49-A694-277D8DC42E8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62662" y="2473781"/>
            <a:ext cx="4513429" cy="1010708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Placeholder 27">
            <a:extLst>
              <a:ext uri="{FF2B5EF4-FFF2-40B4-BE49-F238E27FC236}">
                <a16:creationId xmlns:a16="http://schemas.microsoft.com/office/drawing/2014/main" id="{EFDA9869-A5D0-C54F-957F-C1FF326377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72610" y="3619830"/>
            <a:ext cx="4691699" cy="1010708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0B644319-CFD5-D945-96D3-D53913BE932E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615909" y="3619725"/>
            <a:ext cx="1168400" cy="1011238"/>
          </a:xfrm>
          <a:prstGeom prst="rect">
            <a:avLst/>
          </a:prstGeo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FEA5C548-22CC-1242-9ADF-7035CB02A1F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062662" y="3619830"/>
            <a:ext cx="4513429" cy="1010708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DD812223-4F3B-8649-86A6-5C4DC376445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172610" y="4770260"/>
            <a:ext cx="4691699" cy="1010708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E1643694-BB48-3943-A98B-C1D3958F31A1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615909" y="4770155"/>
            <a:ext cx="1168400" cy="1011238"/>
          </a:xfrm>
          <a:prstGeom prst="rect">
            <a:avLst/>
          </a:prstGeo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4" name="Text Placeholder 27">
            <a:extLst>
              <a:ext uri="{FF2B5EF4-FFF2-40B4-BE49-F238E27FC236}">
                <a16:creationId xmlns:a16="http://schemas.microsoft.com/office/drawing/2014/main" id="{44A6D477-64D3-D84B-86BD-7CED018E621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062662" y="4770260"/>
            <a:ext cx="4513429" cy="1010708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8139B9-C329-D048-AAA6-6B02AFCCE33B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EFED24A-AEF7-C541-6A5A-6C5B7149021C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4" name="Rectangle 5">
              <a:extLst>
                <a:ext uri="{FF2B5EF4-FFF2-40B4-BE49-F238E27FC236}">
                  <a16:creationId xmlns:a16="http://schemas.microsoft.com/office/drawing/2014/main" id="{7A933CBF-E758-3F78-00CD-7EC436B7DEE3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55E1925-24F3-F656-B120-D5C9F25FDC34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9A838DB-0C4A-80E2-51FF-2744AD7FEBE2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49FA0336-1803-80A1-7009-6E2383F8B7AB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B7665142-2BF6-794E-0118-A912FD48EF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61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– 4 columns with titl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709762"/>
            <a:ext cx="10972800" cy="60706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5A8C33-A8C8-234F-9E13-5A9D84B2B3F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64797" y="2550328"/>
            <a:ext cx="2343150" cy="3176192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rgbClr val="53575A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D3173538-AA86-6E46-A005-0E0166D26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444573" y="2550328"/>
            <a:ext cx="2343150" cy="3176192"/>
          </a:xfrm>
          <a:prstGeom prst="rect">
            <a:avLst/>
          </a:prstGeom>
        </p:spPr>
        <p:txBody>
          <a:bodyPr/>
          <a:lstStyle>
            <a:lvl1pPr>
              <a:buClr>
                <a:srgbClr val="004C6C"/>
              </a:buClr>
              <a:buFont typeface="Arial" panose="020B0604020202020204" pitchFamily="34" charset="0"/>
              <a:buChar char="•"/>
              <a:defRPr sz="1600">
                <a:solidFill>
                  <a:srgbClr val="53575A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C5DFBBC1-DB2D-1248-A512-97C058754BB0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382845" y="2550328"/>
            <a:ext cx="2343150" cy="3176192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rgbClr val="53575A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0" name="Text Placeholder 5">
            <a:extLst>
              <a:ext uri="{FF2B5EF4-FFF2-40B4-BE49-F238E27FC236}">
                <a16:creationId xmlns:a16="http://schemas.microsoft.com/office/drawing/2014/main" id="{3EDED698-ACF9-6C4D-B84F-6DDA37C361D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308925" y="2550328"/>
            <a:ext cx="2343150" cy="3176192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rgbClr val="53575A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EC7E620-FF1A-F54C-B209-CD33A17DF9C9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54737AE-4402-F227-4C5E-97D7FFF24549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4" name="Rectangle 5">
              <a:extLst>
                <a:ext uri="{FF2B5EF4-FFF2-40B4-BE49-F238E27FC236}">
                  <a16:creationId xmlns:a16="http://schemas.microsoft.com/office/drawing/2014/main" id="{B32229D7-5594-CCC3-81CE-1719E6EB3D9A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A617B5C-3E5F-667A-E065-FE1FB875010E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23D5D507-863D-90FF-2DA2-0137BA16E4F0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" name="Rectangle 5">
              <a:extLst>
                <a:ext uri="{FF2B5EF4-FFF2-40B4-BE49-F238E27FC236}">
                  <a16:creationId xmlns:a16="http://schemas.microsoft.com/office/drawing/2014/main" id="{F34B98CC-69B6-AF03-2CC0-85537BB7D6D3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77D041CD-F2DA-4443-A834-053E0ACDCF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081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– 4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693229"/>
            <a:ext cx="10972800" cy="9274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7">
            <a:extLst>
              <a:ext uri="{FF2B5EF4-FFF2-40B4-BE49-F238E27FC236}">
                <a16:creationId xmlns:a16="http://schemas.microsoft.com/office/drawing/2014/main" id="{FA7C1865-3D6A-524C-9A91-FC03A7F2C7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3303732"/>
            <a:ext cx="2052099" cy="1903267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>
                <a:solidFill>
                  <a:schemeClr val="tx1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0A1764DE-A2A1-0A49-8841-4A863ED475D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10310" y="3303732"/>
            <a:ext cx="2052099" cy="1903267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>
                <a:solidFill>
                  <a:schemeClr val="tx1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4" name="Text Placeholder 27">
            <a:extLst>
              <a:ext uri="{FF2B5EF4-FFF2-40B4-BE49-F238E27FC236}">
                <a16:creationId xmlns:a16="http://schemas.microsoft.com/office/drawing/2014/main" id="{875E623B-138D-1D4E-B124-1F2AF8721C9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28155" y="3303732"/>
            <a:ext cx="2052099" cy="1903267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>
                <a:solidFill>
                  <a:schemeClr val="tx1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5" name="Text Placeholder 27">
            <a:extLst>
              <a:ext uri="{FF2B5EF4-FFF2-40B4-BE49-F238E27FC236}">
                <a16:creationId xmlns:a16="http://schemas.microsoft.com/office/drawing/2014/main" id="{384B44A7-AB8F-8C44-B25E-B85E06F66A6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227338" y="3303732"/>
            <a:ext cx="2052099" cy="1903267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>
                <a:solidFill>
                  <a:schemeClr val="tx1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C02DA4A-4EAB-1F4C-ADDA-3CE89BE22DDC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1A62979-D3FA-2FCF-170E-525E82AFA14F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4" name="Rectangle 5">
              <a:extLst>
                <a:ext uri="{FF2B5EF4-FFF2-40B4-BE49-F238E27FC236}">
                  <a16:creationId xmlns:a16="http://schemas.microsoft.com/office/drawing/2014/main" id="{1E8304D2-17B2-C4B9-4027-4C046DD610FA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0132D46-C58C-74F1-5F4C-CCA74F5145AC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4CCA896-7918-ADAA-4E81-CFE5372963C8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258FA027-423A-B573-6C7A-775F035400E3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5EF5D2EB-AAB9-A64E-EE01-1EB25C40DB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315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– 4 columns ar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98795"/>
            <a:ext cx="10972800" cy="9274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7">
            <a:extLst>
              <a:ext uri="{FF2B5EF4-FFF2-40B4-BE49-F238E27FC236}">
                <a16:creationId xmlns:a16="http://schemas.microsoft.com/office/drawing/2014/main" id="{FA7C1865-3D6A-524C-9A91-FC03A7F2C7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3303732"/>
            <a:ext cx="2052099" cy="1903267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>
                <a:solidFill>
                  <a:schemeClr val="tx1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0A1764DE-A2A1-0A49-8841-4A863ED475D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10310" y="3303732"/>
            <a:ext cx="2052099" cy="1903267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>
                <a:solidFill>
                  <a:schemeClr val="tx1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4" name="Text Placeholder 27">
            <a:extLst>
              <a:ext uri="{FF2B5EF4-FFF2-40B4-BE49-F238E27FC236}">
                <a16:creationId xmlns:a16="http://schemas.microsoft.com/office/drawing/2014/main" id="{875E623B-138D-1D4E-B124-1F2AF8721C9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28155" y="3303732"/>
            <a:ext cx="2052099" cy="1903267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>
                <a:solidFill>
                  <a:schemeClr val="tx1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5" name="Text Placeholder 27">
            <a:extLst>
              <a:ext uri="{FF2B5EF4-FFF2-40B4-BE49-F238E27FC236}">
                <a16:creationId xmlns:a16="http://schemas.microsoft.com/office/drawing/2014/main" id="{384B44A7-AB8F-8C44-B25E-B85E06F66A6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227338" y="3303732"/>
            <a:ext cx="2052099" cy="1903267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>
                <a:solidFill>
                  <a:schemeClr val="tx1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43348FCD-D37A-CC48-8F49-D396072ABBD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79985" y="2072775"/>
            <a:ext cx="2052098" cy="784421"/>
          </a:xfrm>
          <a:prstGeom prst="rect">
            <a:avLst/>
          </a:prstGeom>
        </p:spPr>
        <p:txBody>
          <a:bodyPr anchor="ctr"/>
          <a:lstStyle>
            <a:lvl1pPr algn="ctr">
              <a:defRPr sz="1800" b="1">
                <a:solidFill>
                  <a:schemeClr val="tx2"/>
                </a:solidFill>
              </a:defRPr>
            </a:lvl1pPr>
            <a:lvl2pPr marL="0" indent="0">
              <a:buNone/>
              <a:defRPr sz="2000" b="1">
                <a:solidFill>
                  <a:srgbClr val="14345A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D32EE583-F14D-8E45-9FEE-F2A5347828C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2903" y="2072775"/>
            <a:ext cx="2052098" cy="784421"/>
          </a:xfrm>
          <a:prstGeom prst="rect">
            <a:avLst/>
          </a:prstGeom>
        </p:spPr>
        <p:txBody>
          <a:bodyPr anchor="ctr"/>
          <a:lstStyle>
            <a:lvl1pPr algn="ctr">
              <a:defRPr sz="1800" b="1">
                <a:solidFill>
                  <a:schemeClr val="tx2"/>
                </a:solidFill>
              </a:defRPr>
            </a:lvl1pPr>
            <a:lvl2pPr marL="0" indent="0">
              <a:buNone/>
              <a:defRPr sz="2000" b="1">
                <a:solidFill>
                  <a:srgbClr val="14345A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DDBD5052-F042-354B-8B95-B79AB5E1208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77124" y="2072775"/>
            <a:ext cx="2052098" cy="784421"/>
          </a:xfrm>
          <a:prstGeom prst="rect">
            <a:avLst/>
          </a:prstGeom>
        </p:spPr>
        <p:txBody>
          <a:bodyPr anchor="ctr"/>
          <a:lstStyle>
            <a:lvl1pPr algn="ctr">
              <a:defRPr sz="1800" b="1">
                <a:solidFill>
                  <a:schemeClr val="tx2"/>
                </a:solidFill>
              </a:defRPr>
            </a:lvl1pPr>
            <a:lvl2pPr marL="0" indent="0">
              <a:buNone/>
              <a:defRPr sz="2000" b="1">
                <a:solidFill>
                  <a:srgbClr val="14345A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9" name="Text Placeholder 15">
            <a:extLst>
              <a:ext uri="{FF2B5EF4-FFF2-40B4-BE49-F238E27FC236}">
                <a16:creationId xmlns:a16="http://schemas.microsoft.com/office/drawing/2014/main" id="{629F7FB8-864F-8842-8BD5-5EC2CA6F221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246957" y="2072775"/>
            <a:ext cx="2052098" cy="784421"/>
          </a:xfrm>
          <a:prstGeom prst="rect">
            <a:avLst/>
          </a:prstGeom>
        </p:spPr>
        <p:txBody>
          <a:bodyPr anchor="ctr"/>
          <a:lstStyle>
            <a:lvl1pPr algn="ctr">
              <a:defRPr sz="1800" b="1">
                <a:solidFill>
                  <a:schemeClr val="tx2"/>
                </a:solidFill>
              </a:defRPr>
            </a:lvl1pPr>
            <a:lvl2pPr marL="0" indent="0">
              <a:buNone/>
              <a:defRPr sz="2000" b="1">
                <a:solidFill>
                  <a:srgbClr val="14345A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2D69707-07A5-D54D-A00D-12772D89454F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43C0471-4998-B10A-6007-E981FC50C81C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4" name="Rectangle 5">
              <a:extLst>
                <a:ext uri="{FF2B5EF4-FFF2-40B4-BE49-F238E27FC236}">
                  <a16:creationId xmlns:a16="http://schemas.microsoft.com/office/drawing/2014/main" id="{202BCB5C-EB30-50F3-F164-132D7041D5C6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396CE0A-788B-C8DC-B055-6E54042A3EFD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1B2030E7-D329-1AC6-DEDC-6692FD4E7696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" name="Rectangle 5">
              <a:extLst>
                <a:ext uri="{FF2B5EF4-FFF2-40B4-BE49-F238E27FC236}">
                  <a16:creationId xmlns:a16="http://schemas.microsoft.com/office/drawing/2014/main" id="{01DD08A3-A6BE-9979-0438-C8B4348AC54D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1C95C34A-36DE-E80C-36F1-0CAC6D3105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447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" y="1625599"/>
            <a:ext cx="10964333" cy="364066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0D3DDE-1666-5E40-9B67-3A516EE9D8D1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1334D0C-DC92-8273-8266-B7D3894FDED6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10" name="Rectangle 5">
              <a:extLst>
                <a:ext uri="{FF2B5EF4-FFF2-40B4-BE49-F238E27FC236}">
                  <a16:creationId xmlns:a16="http://schemas.microsoft.com/office/drawing/2014/main" id="{E930AD6B-54E6-494A-600C-C49344D27632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74518D5-687C-8A6A-2DD2-52BC7CDA24B0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id="{8ADA431A-E808-4F2B-1991-2AEBB1D3BC32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08543878-FC4D-B2EC-9B7D-E08CD374F456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FEEE3CB4-F5D8-5ADC-C361-322DF72CF0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25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–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530C92-F786-7740-8D4F-856680EDC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714418"/>
            <a:ext cx="10972800" cy="84344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64EFA75D-E478-AF41-A4AE-06F25C1D50D9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09600" y="1938804"/>
            <a:ext cx="4563533" cy="3556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731EC33-6F9C-B647-8E03-5834A1EF12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83258" y="1938804"/>
            <a:ext cx="5999142" cy="3556000"/>
          </a:xfrm>
          <a:prstGeom prst="rect">
            <a:avLst/>
          </a:prstGeom>
        </p:spPr>
        <p:txBody>
          <a:bodyPr anchor="t"/>
          <a:lstStyle>
            <a:lvl1pPr>
              <a:defRPr sz="1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AD16B7-726C-1C4E-9AD3-91F56988538A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BDEE586-EE33-79F3-22E7-E810E903F992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5" name="Rectangle 5">
              <a:extLst>
                <a:ext uri="{FF2B5EF4-FFF2-40B4-BE49-F238E27FC236}">
                  <a16:creationId xmlns:a16="http://schemas.microsoft.com/office/drawing/2014/main" id="{AA35E527-8204-8247-07AD-584656DB8348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74FAE63-0AB8-CEAE-6EA9-7B79C71E8369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1" name="Rectangle 5">
              <a:extLst>
                <a:ext uri="{FF2B5EF4-FFF2-40B4-BE49-F238E27FC236}">
                  <a16:creationId xmlns:a16="http://schemas.microsoft.com/office/drawing/2014/main" id="{7363A15F-622E-7A98-0B3F-83B2C11D14E3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id="{5DA1AD5A-2D89-A383-DBE6-DA0161F35FBD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81FDF020-9FA3-E29F-315B-6D418D38A0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182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–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530C92-F786-7740-8D4F-856680EDC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834" y="698156"/>
            <a:ext cx="10972800" cy="789781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6" name="Chart Placeholder 39">
            <a:extLst>
              <a:ext uri="{FF2B5EF4-FFF2-40B4-BE49-F238E27FC236}">
                <a16:creationId xmlns:a16="http://schemas.microsoft.com/office/drawing/2014/main" id="{1B5DF284-65B5-7844-93F4-13CC048EF760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37098" y="1625600"/>
            <a:ext cx="5180042" cy="240690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36" name="Chart Placeholder 39">
            <a:extLst>
              <a:ext uri="{FF2B5EF4-FFF2-40B4-BE49-F238E27FC236}">
                <a16:creationId xmlns:a16="http://schemas.microsoft.com/office/drawing/2014/main" id="{F3AB0547-2356-304D-8E02-8A8F4256CF72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112074" y="1625600"/>
            <a:ext cx="5486559" cy="240690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58008AEF-DA3A-E14C-8482-B52F4F0F9F2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7097" y="4185920"/>
            <a:ext cx="5202895" cy="1536700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  <a:lvl2pPr algn="ctr"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0" name="Text Placeholder 38">
            <a:extLst>
              <a:ext uri="{FF2B5EF4-FFF2-40B4-BE49-F238E27FC236}">
                <a16:creationId xmlns:a16="http://schemas.microsoft.com/office/drawing/2014/main" id="{B9BCC668-D0C7-C243-B704-6B8BA62611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12075" y="4185920"/>
            <a:ext cx="5510764" cy="1536700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  <a:lvl2pPr algn="ctr"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4BD9C15-FC41-524C-90AC-6A900B91C4BA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D308293-ADAA-4326-6AFE-DA745D43732F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4" name="Rectangle 5">
              <a:extLst>
                <a:ext uri="{FF2B5EF4-FFF2-40B4-BE49-F238E27FC236}">
                  <a16:creationId xmlns:a16="http://schemas.microsoft.com/office/drawing/2014/main" id="{2871FED1-C10F-C495-D7B0-D26301880BA7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1E28E73-D513-5893-B7AB-14C94FF4672E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21E870D-7FCE-3E03-44E4-A40843FB2A61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303F3FDB-10A0-F031-13E3-C3C87C79EA26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74EBC4DD-89D9-2AF2-216C-8D5B394622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416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–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530C92-F786-7740-8D4F-856680EDC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834" y="698156"/>
            <a:ext cx="10972800" cy="927444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6" name="Chart Placeholder 39">
            <a:extLst>
              <a:ext uri="{FF2B5EF4-FFF2-40B4-BE49-F238E27FC236}">
                <a16:creationId xmlns:a16="http://schemas.microsoft.com/office/drawing/2014/main" id="{1B5DF284-65B5-7844-93F4-13CC048EF760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37098" y="1625600"/>
            <a:ext cx="2625256" cy="240690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36" name="Chart Placeholder 39">
            <a:extLst>
              <a:ext uri="{FF2B5EF4-FFF2-40B4-BE49-F238E27FC236}">
                <a16:creationId xmlns:a16="http://schemas.microsoft.com/office/drawing/2014/main" id="{F3AB0547-2356-304D-8E02-8A8F4256CF72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3499523" y="1625600"/>
            <a:ext cx="2625256" cy="240690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37" name="Chart Placeholder 39">
            <a:extLst>
              <a:ext uri="{FF2B5EF4-FFF2-40B4-BE49-F238E27FC236}">
                <a16:creationId xmlns:a16="http://schemas.microsoft.com/office/drawing/2014/main" id="{3C8C4C4A-19E3-B44A-B5DB-406A3A36D8CB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6371278" y="1625600"/>
            <a:ext cx="2625256" cy="240690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38" name="Chart Placeholder 39">
            <a:extLst>
              <a:ext uri="{FF2B5EF4-FFF2-40B4-BE49-F238E27FC236}">
                <a16:creationId xmlns:a16="http://schemas.microsoft.com/office/drawing/2014/main" id="{4ADF6288-FB8F-974F-9B83-F47689921B7A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9234998" y="1625600"/>
            <a:ext cx="2625256" cy="240690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58008AEF-DA3A-E14C-8482-B52F4F0F9F2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7098" y="4185920"/>
            <a:ext cx="2636838" cy="1536700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  <a:lvl2pPr algn="ctr"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0" name="Text Placeholder 38">
            <a:extLst>
              <a:ext uri="{FF2B5EF4-FFF2-40B4-BE49-F238E27FC236}">
                <a16:creationId xmlns:a16="http://schemas.microsoft.com/office/drawing/2014/main" id="{B9BCC668-D0C7-C243-B704-6B8BA62611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99523" y="4185920"/>
            <a:ext cx="2636838" cy="1536700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  <a:lvl2pPr algn="ctr"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1" name="Text Placeholder 38">
            <a:extLst>
              <a:ext uri="{FF2B5EF4-FFF2-40B4-BE49-F238E27FC236}">
                <a16:creationId xmlns:a16="http://schemas.microsoft.com/office/drawing/2014/main" id="{127D704A-32CA-F041-86B3-02C276A4FE8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71278" y="4185920"/>
            <a:ext cx="2636838" cy="1536700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  <a:lvl2pPr algn="ctr"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2" name="Text Placeholder 38">
            <a:extLst>
              <a:ext uri="{FF2B5EF4-FFF2-40B4-BE49-F238E27FC236}">
                <a16:creationId xmlns:a16="http://schemas.microsoft.com/office/drawing/2014/main" id="{7FCC8719-92E7-2C46-887F-939336067DA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234998" y="4185920"/>
            <a:ext cx="2636838" cy="1536700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  <a:lvl2pPr algn="ctr"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4BD9C15-FC41-524C-90AC-6A900B91C4BA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CAA7EDA-D755-A9CD-CA86-8160DE1F261B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4" name="Rectangle 5">
              <a:extLst>
                <a:ext uri="{FF2B5EF4-FFF2-40B4-BE49-F238E27FC236}">
                  <a16:creationId xmlns:a16="http://schemas.microsoft.com/office/drawing/2014/main" id="{8C4BD3D3-0F9B-C1C9-7D14-8374C592FC56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46E0466E-D560-301C-AC68-2E3C841702CE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01718C9-6EE0-C33A-662B-9F3796B9E0DF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11A4360E-4930-38C6-71C9-04B0FB40822D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A9EE6E46-24EB-F59D-0F88-28980681FC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473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C63510-36D6-7BC6-B2B6-BD3397D5F2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2B7E80-1FCD-7AE9-2033-714E0C6476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F28BD-17D8-450D-85D3-370A98937FB2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1A468D-B55E-8A69-B974-6587866F70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88C4F-7D88-75E4-6680-27079AC04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6F21E-84F2-4C40-99E5-220146544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63746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530C92-F786-7740-8D4F-856680EDC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705714"/>
            <a:ext cx="10972800" cy="9274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282EAA1A-041D-BC41-A7DC-1ED8A88CB03A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633158"/>
            <a:ext cx="10972800" cy="4403746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59BB36-7F7F-1A45-846E-601A6730CC1D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 </a:t>
            </a:r>
            <a:fld id="{17719481-C555-E943-814E-BF2BA8FE344F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805D4AE-2CC8-21DC-41F4-7E8CBA5E6FB3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10" name="Rectangle 5">
              <a:extLst>
                <a:ext uri="{FF2B5EF4-FFF2-40B4-BE49-F238E27FC236}">
                  <a16:creationId xmlns:a16="http://schemas.microsoft.com/office/drawing/2014/main" id="{A49DACFF-966E-D86E-92AC-45CC3C795D9D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54A37DF-FA09-0575-754A-138A71860CD4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id="{D5DFA1A3-94B6-6106-6A81-6EFFB84E3E2A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2C4D2498-EC55-0BBF-438C-1F8934753888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5B192324-CF1B-FFBA-94BC-525D968154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483" y="6202982"/>
            <a:ext cx="1437260" cy="4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599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88A3356-B715-DFC3-D17B-F5036280EBA6}"/>
              </a:ext>
            </a:extLst>
          </p:cNvPr>
          <p:cNvGrpSpPr/>
          <p:nvPr userDrawn="1"/>
        </p:nvGrpSpPr>
        <p:grpSpPr>
          <a:xfrm>
            <a:off x="-5" y="6699353"/>
            <a:ext cx="12192005" cy="159026"/>
            <a:chOff x="0" y="2353585"/>
            <a:chExt cx="12192005" cy="159026"/>
          </a:xfrm>
        </p:grpSpPr>
        <p:sp>
          <p:nvSpPr>
            <p:cNvPr id="3" name="Rectangle 5">
              <a:extLst>
                <a:ext uri="{FF2B5EF4-FFF2-40B4-BE49-F238E27FC236}">
                  <a16:creationId xmlns:a16="http://schemas.microsoft.com/office/drawing/2014/main" id="{787CBF9D-1CC7-AD16-E4A9-72D2542C186B}"/>
                </a:ext>
              </a:extLst>
            </p:cNvPr>
            <p:cNvSpPr/>
            <p:nvPr userDrawn="1"/>
          </p:nvSpPr>
          <p:spPr>
            <a:xfrm>
              <a:off x="0" y="2353585"/>
              <a:ext cx="12192005" cy="159026"/>
            </a:xfrm>
            <a:prstGeom prst="rect">
              <a:avLst/>
            </a:prstGeom>
            <a:solidFill>
              <a:srgbClr val="004C6C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F667D38-7506-8BAD-B8C2-544AFB8805F6}"/>
                </a:ext>
              </a:extLst>
            </p:cNvPr>
            <p:cNvSpPr/>
            <p:nvPr userDrawn="1"/>
          </p:nvSpPr>
          <p:spPr>
            <a:xfrm>
              <a:off x="1304773" y="2353585"/>
              <a:ext cx="365001" cy="159026"/>
            </a:xfrm>
            <a:prstGeom prst="rect">
              <a:avLst/>
            </a:prstGeom>
            <a:solidFill>
              <a:srgbClr val="CB3333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4F174713-4C55-B13B-2206-5CC8B1157CDE}"/>
                </a:ext>
              </a:extLst>
            </p:cNvPr>
            <p:cNvSpPr/>
            <p:nvPr userDrawn="1"/>
          </p:nvSpPr>
          <p:spPr>
            <a:xfrm>
              <a:off x="1669774" y="2353585"/>
              <a:ext cx="754615" cy="159026"/>
            </a:xfrm>
            <a:prstGeom prst="rect">
              <a:avLst/>
            </a:prstGeom>
            <a:solidFill>
              <a:srgbClr val="F1BE48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" name="Rectangle 5">
              <a:extLst>
                <a:ext uri="{FF2B5EF4-FFF2-40B4-BE49-F238E27FC236}">
                  <a16:creationId xmlns:a16="http://schemas.microsoft.com/office/drawing/2014/main" id="{297D72DB-4C85-2653-FEEF-39D3897845C4}"/>
                </a:ext>
              </a:extLst>
            </p:cNvPr>
            <p:cNvSpPr/>
            <p:nvPr userDrawn="1"/>
          </p:nvSpPr>
          <p:spPr>
            <a:xfrm>
              <a:off x="2424389" y="2353585"/>
              <a:ext cx="2154047" cy="159026"/>
            </a:xfrm>
            <a:prstGeom prst="rect">
              <a:avLst/>
            </a:prstGeom>
            <a:solidFill>
              <a:srgbClr val="009999"/>
            </a:solidFill>
            <a:ln w="12700">
              <a:noFill/>
              <a:miter lim="400000"/>
            </a:ln>
          </p:spPr>
          <p:txBody>
            <a:bodyPr lIns="45718" tIns="45718" rIns="45718" bIns="45718" anchor="ctr"/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DFFB815F-4598-737C-9D58-C4CED041EC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07266" y="2599441"/>
            <a:ext cx="5577462" cy="1659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364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- 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B1EB1EF-A613-195D-613D-5B69D0CA16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07268" y="2599441"/>
            <a:ext cx="5577457" cy="1659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032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- 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50641B7-7AC6-6B38-F2CE-42C64FC468FB}"/>
              </a:ext>
            </a:extLst>
          </p:cNvPr>
          <p:cNvSpPr/>
          <p:nvPr userDrawn="1"/>
        </p:nvSpPr>
        <p:spPr>
          <a:xfrm>
            <a:off x="0" y="0"/>
            <a:ext cx="1233424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3003C8B-8082-64C2-82F2-81B705B7D0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07268" y="2599441"/>
            <a:ext cx="5577457" cy="1659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799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304149-D83F-97E0-ED7E-243AFD510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F28BD-17D8-450D-85D3-370A98937FB2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7EC9B3-8E5A-2509-1EBC-BFCD5AE0C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56EE09-163A-88DD-82FC-43A95EFB8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6F21E-84F2-4C40-99E5-220146544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8080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92B9FE-D368-E678-6B4C-43C7429F57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F42941-6533-A60F-17FC-C89812419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B67118-187E-B036-20F3-A7772013A1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F7D37FE-FA80-B378-98C0-202EBC39EF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F28BD-17D8-450D-85D3-370A98937FB2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02792D-7B57-4F44-C1AD-2570F3CC58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E9CA5E-A71D-A446-C33F-64643E1189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6F21E-84F2-4C40-99E5-220146544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3949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BE3AA9-AFC3-F647-F017-4BA7C30C2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A0EC6F0-E22E-A4A4-82E3-59A1E05B8C3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1BBA9-D5C9-8224-60A4-F57DE5C215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D34E37-243C-8D2A-4C77-8E5665A3D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F28BD-17D8-450D-85D3-370A98937FB2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37CBCE-ECE8-022D-1DB1-73DC7747B5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0F5421-9C08-AD4F-E023-0247D4C9F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6F21E-84F2-4C40-99E5-220146544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808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tags" Target="../tags/tag1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54" Type="http://schemas.openxmlformats.org/officeDocument/2006/relationships/vmlDrawing" Target="../drawings/vmlDrawing1.v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theme" Target="../theme/theme2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tags" Target="../tags/tag2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3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3DDBB1-87A7-C659-CFB1-A2A0BC542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4B1A0D-20C5-7F37-7E54-8CCE9B877B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AC2FF8-20AF-9997-0C8F-A7E3BFA9E2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7AF28BD-17D8-450D-85D3-370A98937FB2}" type="datetimeFigureOut">
              <a:rPr lang="en-US" smtClean="0"/>
              <a:t>4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740FEC-C0D3-6D3A-318C-CB7785B9F2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533E89-0E9E-2F91-4506-A119AAD9D0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7D6F21E-84F2-4C40-99E5-220146544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583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BFFF78A-3194-3E4A-9934-CD31BE212A8F}"/>
              </a:ext>
            </a:extLst>
          </p:cNvPr>
          <p:cNvGraphicFramePr>
            <a:graphicFrameLocks noChangeAspect="1"/>
          </p:cNvGraphicFramePr>
          <p:nvPr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2308731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7" imgW="7772400" imgH="10058400" progId="TCLayout.ActiveDocument.1">
                  <p:embed/>
                </p:oleObj>
              </mc:Choice>
              <mc:Fallback>
                <p:oleObj name="think-cell Slide" r:id="rId57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BFFF78A-3194-3E4A-9934-CD31BE212A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689925"/>
            <a:ext cx="10972800" cy="92744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17369"/>
            <a:ext cx="10972800" cy="4550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78751B7-804A-1F48-A802-43A722BBAFFB}"/>
              </a:ext>
            </a:extLst>
          </p:cNvPr>
          <p:cNvSpPr/>
          <p:nvPr>
            <p:custDataLst>
              <p:tags r:id="rId5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5226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</p:sldLayoutIdLst>
  <p:txStyles>
    <p:titleStyle>
      <a:lvl1pPr algn="l" defTabSz="457200" rtl="0" eaLnBrk="1" latinLnBrk="0" hangingPunct="1">
        <a:spcBef>
          <a:spcPct val="0"/>
        </a:spcBef>
        <a:buNone/>
        <a:defRPr lang="en-US" sz="2800" b="1" i="0" kern="1200" dirty="0">
          <a:solidFill>
            <a:schemeClr val="tx1"/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0" indent="0" algn="l" defTabSz="457200" rtl="0" eaLnBrk="1" latinLnBrk="0" hangingPunct="1">
        <a:spcBef>
          <a:spcPts val="0"/>
        </a:spcBef>
        <a:spcAft>
          <a:spcPts val="300"/>
        </a:spcAft>
        <a:buClr>
          <a:schemeClr val="tx1"/>
        </a:buClr>
        <a:buFont typeface="Arial"/>
        <a:buNone/>
        <a:defRPr sz="2200" kern="1200">
          <a:solidFill>
            <a:schemeClr val="accent4"/>
          </a:solidFill>
          <a:latin typeface="+mn-lt"/>
          <a:ea typeface="+mn-ea"/>
          <a:cs typeface="+mn-cs"/>
        </a:defRPr>
      </a:lvl1pPr>
      <a:lvl2pPr marL="236538" indent="-228600" algn="l" defTabSz="457200" rtl="0" eaLnBrk="1" latinLnBrk="0" hangingPunct="1"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•"/>
        <a:tabLst/>
        <a:defRPr sz="2000" kern="1200">
          <a:solidFill>
            <a:schemeClr val="accent4"/>
          </a:solidFill>
          <a:latin typeface="+mn-lt"/>
          <a:ea typeface="+mn-ea"/>
          <a:cs typeface="+mn-cs"/>
        </a:defRPr>
      </a:lvl2pPr>
      <a:lvl3pPr marL="465138" indent="-228600" algn="l" defTabSz="457200" rtl="0" eaLnBrk="1" latinLnBrk="0" hangingPunct="1"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tabLst/>
        <a:defRPr sz="1800" kern="1200">
          <a:solidFill>
            <a:schemeClr val="accent4"/>
          </a:solidFill>
          <a:latin typeface="+mn-lt"/>
          <a:ea typeface="+mn-ea"/>
          <a:cs typeface="+mn-cs"/>
        </a:defRPr>
      </a:lvl3pPr>
      <a:lvl4pPr marL="693738" indent="-228600" algn="l" defTabSz="457200" rtl="0" eaLnBrk="1" latinLnBrk="0" hangingPunct="1"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•"/>
        <a:tabLst/>
        <a:defRPr sz="1600" kern="1200">
          <a:solidFill>
            <a:schemeClr val="accent4"/>
          </a:solidFill>
          <a:latin typeface="+mn-lt"/>
          <a:ea typeface="+mn-ea"/>
          <a:cs typeface="+mn-cs"/>
        </a:defRPr>
      </a:lvl4pPr>
      <a:lvl5pPr marL="922338" indent="-228600" algn="l" defTabSz="457200" rtl="0" eaLnBrk="1" latinLnBrk="0" hangingPunct="1"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tabLst/>
        <a:defRPr sz="1300" kern="1200">
          <a:solidFill>
            <a:schemeClr val="accent4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4162A6-5CA0-112F-AAB2-26B5FB9EA7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pril 28</a:t>
            </a:r>
            <a:r>
              <a:rPr lang="en-US" baseline="30000" dirty="0"/>
              <a:t>th</a:t>
            </a:r>
            <a:r>
              <a:rPr lang="en-US" dirty="0"/>
              <a:t>, 2026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E41870F-70F2-B924-2A44-93AA552BF1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4445" y="3000374"/>
            <a:ext cx="10030487" cy="2812029"/>
          </a:xfrm>
        </p:spPr>
        <p:txBody>
          <a:bodyPr/>
          <a:lstStyle/>
          <a:p>
            <a:r>
              <a:rPr lang="en-US" sz="7200" dirty="0"/>
              <a:t>We Honor Veterans</a:t>
            </a:r>
            <a:br>
              <a:rPr lang="en-US" sz="7200" dirty="0"/>
            </a:br>
            <a:br>
              <a:rPr lang="en-US" dirty="0"/>
            </a:br>
            <a:r>
              <a:rPr lang="en-US" sz="3600" dirty="0"/>
              <a:t>Tracy Rosinski, Administrator</a:t>
            </a:r>
            <a:br>
              <a:rPr lang="en-US" sz="3600" dirty="0"/>
            </a:br>
            <a:r>
              <a:rPr lang="en-US" sz="3600" dirty="0"/>
              <a:t>Heartland Hospic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0573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B8C242-7571-1E77-3EBA-207C252D2EA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461"/>
          <a:stretch>
            <a:fillRect/>
          </a:stretch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847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256849-F077-0419-C12A-54A82629694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900"/>
          <a:stretch>
            <a:fillRect/>
          </a:stretch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1452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C232AB0-ECB1-C05F-25BB-09B59BEB28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9"/>
          <a:stretch>
            <a:fillRect/>
          </a:stretch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6412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E6215E6-2183-BD4A-F4C6-6F6CF112D0A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19"/>
          <a:stretch>
            <a:fillRect/>
          </a:stretch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7158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296C89A-668A-0DE7-385A-B17A9DED02E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461"/>
          <a:stretch>
            <a:fillRect/>
          </a:stretch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8834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59D818A-68FD-29FE-EA65-56054937FE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88" y="0"/>
            <a:ext cx="1217722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4098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961FA3F-56A2-0DED-977A-6FD2BEDC28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271" y="1797291"/>
            <a:ext cx="6960748" cy="42135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407813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32BC26D8-82FB-445E-AA49-62A77D7C1E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143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B44330D-EA18-4254-AA95-EB49948539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12" y="480060"/>
            <a:ext cx="11237976" cy="589788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4B58967-F6FD-A31C-0E8B-30E35D87B6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327" y="643467"/>
            <a:ext cx="10765346" cy="55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2849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9C3A68A-72B8-EC8B-3E2A-503A55BDFC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25" y="0"/>
            <a:ext cx="121729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1837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310AFF-F804-33CC-79CE-9642EB2983F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461"/>
          <a:stretch>
            <a:fillRect/>
          </a:stretch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3744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5F294AC-98EC-162C-13C6-A567D7551F4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461"/>
          <a:stretch>
            <a:fillRect/>
          </a:stretch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0433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8693D40-83FD-21A9-774D-C7E5464274E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425" b="-1"/>
          <a:stretch>
            <a:fillRect/>
          </a:stretch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1551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AF54F31-25A3-86FE-8887-816E07897AB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461"/>
          <a:stretch>
            <a:fillRect/>
          </a:stretch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3998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1E01D99-7036-2616-E2F0-CF332330260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425" b="-1"/>
          <a:stretch>
            <a:fillRect/>
          </a:stretch>
        </p:blipFill>
        <p:spPr>
          <a:xfrm>
            <a:off x="0" y="1282"/>
            <a:ext cx="1226820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058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1D72AC-22BE-D813-E895-E1AA46595DF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900"/>
          <a:stretch>
            <a:fillRect/>
          </a:stretch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868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UC76jfYhgK0AXPPuF7q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HeartlandHospice">
  <a:themeElements>
    <a:clrScheme name="Teal">
      <a:dk1>
        <a:srgbClr val="004C6C"/>
      </a:dk1>
      <a:lt1>
        <a:srgbClr val="FFFFFF"/>
      </a:lt1>
      <a:dk2>
        <a:srgbClr val="009999"/>
      </a:dk2>
      <a:lt2>
        <a:srgbClr val="FFFFFF"/>
      </a:lt2>
      <a:accent1>
        <a:srgbClr val="CB3333"/>
      </a:accent1>
      <a:accent2>
        <a:srgbClr val="F3B123"/>
      </a:accent2>
      <a:accent3>
        <a:srgbClr val="009999"/>
      </a:accent3>
      <a:accent4>
        <a:srgbClr val="535559"/>
      </a:accent4>
      <a:accent5>
        <a:srgbClr val="004F71"/>
      </a:accent5>
      <a:accent6>
        <a:srgbClr val="E9E9E9"/>
      </a:accent6>
      <a:hlink>
        <a:srgbClr val="004F71"/>
      </a:hlink>
      <a:folHlink>
        <a:srgbClr val="004F7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78746ECA-CCC7-D74B-810D-4DC83AE412EB}" vid="{F09FB6CC-ECC7-634D-91D8-65D2C16AEFF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4</TotalTime>
  <Words>18</Words>
  <Application>Microsoft Office PowerPoint</Application>
  <PresentationFormat>Widescreen</PresentationFormat>
  <Paragraphs>3</Paragraphs>
  <Slides>1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ptos</vt:lpstr>
      <vt:lpstr>Aptos Display</vt:lpstr>
      <vt:lpstr>Arial</vt:lpstr>
      <vt:lpstr>Calibri</vt:lpstr>
      <vt:lpstr>Office Theme</vt:lpstr>
      <vt:lpstr>HeartlandHospice</vt:lpstr>
      <vt:lpstr>think-cell Slide</vt:lpstr>
      <vt:lpstr>We Honor Veterans  Tracy Rosinski, Administrator Heartland Hospic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 Honor Veterans  Tracy Rosinski, Administrator Heartland Hospice </dc:title>
  <dc:creator>Tracy Rosinski</dc:creator>
  <cp:lastModifiedBy>Connery, Daniel</cp:lastModifiedBy>
  <cp:revision>4</cp:revision>
  <dcterms:created xsi:type="dcterms:W3CDTF">2026-04-23T17:42:03Z</dcterms:created>
  <dcterms:modified xsi:type="dcterms:W3CDTF">2026-04-27T15:41:15Z</dcterms:modified>
</cp:coreProperties>
</file>